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1" r:id="rId1"/>
  </p:sldMasterIdLst>
  <p:notesMasterIdLst>
    <p:notesMasterId r:id="rId23"/>
  </p:notesMasterIdLst>
  <p:sldIdLst>
    <p:sldId id="307" r:id="rId2"/>
    <p:sldId id="308" r:id="rId3"/>
    <p:sldId id="309" r:id="rId4"/>
    <p:sldId id="310" r:id="rId5"/>
    <p:sldId id="311" r:id="rId6"/>
    <p:sldId id="312" r:id="rId7"/>
    <p:sldId id="313" r:id="rId8"/>
    <p:sldId id="314" r:id="rId9"/>
    <p:sldId id="315" r:id="rId10"/>
    <p:sldId id="316" r:id="rId11"/>
    <p:sldId id="317" r:id="rId12"/>
    <p:sldId id="318" r:id="rId13"/>
    <p:sldId id="319" r:id="rId14"/>
    <p:sldId id="320" r:id="rId15"/>
    <p:sldId id="321" r:id="rId16"/>
    <p:sldId id="322" r:id="rId17"/>
    <p:sldId id="323" r:id="rId18"/>
    <p:sldId id="324" r:id="rId19"/>
    <p:sldId id="325" r:id="rId20"/>
    <p:sldId id="326" r:id="rId21"/>
    <p:sldId id="327" r:id="rId2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1392" y="6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D1DD9A7-0669-4F32-9EEB-438CCD96876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610D25-1E5B-4620-88AB-1170984E7B9A}">
      <dgm:prSet phldrT="[Text]"/>
      <dgm:spPr/>
      <dgm:t>
        <a:bodyPr/>
        <a:lstStyle/>
        <a:p>
          <a:r>
            <a:rPr lang="en-US" dirty="0" smtClean="0"/>
            <a:t>Your Role</a:t>
          </a:r>
          <a:endParaRPr lang="en-US" dirty="0"/>
        </a:p>
      </dgm:t>
    </dgm:pt>
    <dgm:pt modelId="{C475B1E3-3F88-4DFC-90AA-E06F48978480}" type="parTrans" cxnId="{A42D6CD9-1CC7-4F3F-9656-079F1502024D}">
      <dgm:prSet/>
      <dgm:spPr/>
      <dgm:t>
        <a:bodyPr/>
        <a:lstStyle/>
        <a:p>
          <a:endParaRPr lang="en-US"/>
        </a:p>
      </dgm:t>
    </dgm:pt>
    <dgm:pt modelId="{CC15FBF4-9A94-4369-AB71-7F398D48D0DD}" type="sibTrans" cxnId="{A42D6CD9-1CC7-4F3F-9656-079F1502024D}">
      <dgm:prSet/>
      <dgm:spPr/>
      <dgm:t>
        <a:bodyPr/>
        <a:lstStyle/>
        <a:p>
          <a:endParaRPr lang="en-US"/>
        </a:p>
      </dgm:t>
    </dgm:pt>
    <dgm:pt modelId="{6FCCEB65-C95E-4051-B36E-3C79D63B41E0}">
      <dgm:prSet phldrT="[Text]"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Teacher/mentor</a:t>
          </a:r>
          <a:endParaRPr lang="en-US" dirty="0">
            <a:latin typeface="Gill Sans MT" panose="020B0502020104020203" pitchFamily="34" charset="0"/>
          </a:endParaRPr>
        </a:p>
      </dgm:t>
    </dgm:pt>
    <dgm:pt modelId="{9E46A68E-3AF8-4173-AE8A-4A454F4611EC}" type="parTrans" cxnId="{BE4B2CFF-7E1A-4E56-8BED-670BEC92F85E}">
      <dgm:prSet/>
      <dgm:spPr/>
      <dgm:t>
        <a:bodyPr/>
        <a:lstStyle/>
        <a:p>
          <a:endParaRPr lang="en-US"/>
        </a:p>
      </dgm:t>
    </dgm:pt>
    <dgm:pt modelId="{D9867D14-1BE0-49FF-A34C-A5C3FB33F01C}" type="sibTrans" cxnId="{BE4B2CFF-7E1A-4E56-8BED-670BEC92F85E}">
      <dgm:prSet/>
      <dgm:spPr/>
      <dgm:t>
        <a:bodyPr/>
        <a:lstStyle/>
        <a:p>
          <a:endParaRPr lang="en-US"/>
        </a:p>
      </dgm:t>
    </dgm:pt>
    <dgm:pt modelId="{A17F3284-6935-48C8-8B7E-5434FCE9D232}">
      <dgm:prSet phldrT="[Text]"/>
      <dgm:spPr/>
      <dgm:t>
        <a:bodyPr/>
        <a:lstStyle/>
        <a:p>
          <a:r>
            <a:rPr lang="en-US" dirty="0" smtClean="0"/>
            <a:t>Audience</a:t>
          </a:r>
          <a:endParaRPr lang="en-US" dirty="0"/>
        </a:p>
      </dgm:t>
    </dgm:pt>
    <dgm:pt modelId="{318F0759-6721-4452-AE2C-D596041A8778}" type="parTrans" cxnId="{9B0CF853-154F-494D-B33B-5A351B75BFB6}">
      <dgm:prSet/>
      <dgm:spPr/>
      <dgm:t>
        <a:bodyPr/>
        <a:lstStyle/>
        <a:p>
          <a:endParaRPr lang="en-US"/>
        </a:p>
      </dgm:t>
    </dgm:pt>
    <dgm:pt modelId="{CD8796E3-6FC9-415A-8661-B1A44BB20CCF}" type="sibTrans" cxnId="{9B0CF853-154F-494D-B33B-5A351B75BFB6}">
      <dgm:prSet/>
      <dgm:spPr/>
      <dgm:t>
        <a:bodyPr/>
        <a:lstStyle/>
        <a:p>
          <a:endParaRPr lang="en-US"/>
        </a:p>
      </dgm:t>
    </dgm:pt>
    <dgm:pt modelId="{48990A31-B487-4185-AD52-C9C0C49A4E5D}">
      <dgm:prSet phldrT="[Text]"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Who are they?</a:t>
          </a:r>
          <a:endParaRPr lang="en-US" dirty="0">
            <a:latin typeface="Gill Sans MT" panose="020B0502020104020203" pitchFamily="34" charset="0"/>
          </a:endParaRPr>
        </a:p>
      </dgm:t>
    </dgm:pt>
    <dgm:pt modelId="{C6E83E93-2A05-4DF5-B9B6-9B77C93E081A}" type="parTrans" cxnId="{E87696B6-1A87-4D15-9380-CC8FF65B0311}">
      <dgm:prSet/>
      <dgm:spPr/>
      <dgm:t>
        <a:bodyPr/>
        <a:lstStyle/>
        <a:p>
          <a:endParaRPr lang="en-US"/>
        </a:p>
      </dgm:t>
    </dgm:pt>
    <dgm:pt modelId="{75CF787F-8C02-4EB9-A00A-C99B308A7879}" type="sibTrans" cxnId="{E87696B6-1A87-4D15-9380-CC8FF65B0311}">
      <dgm:prSet/>
      <dgm:spPr/>
      <dgm:t>
        <a:bodyPr/>
        <a:lstStyle/>
        <a:p>
          <a:endParaRPr lang="en-US"/>
        </a:p>
      </dgm:t>
    </dgm:pt>
    <dgm:pt modelId="{2CCAFF9D-1578-40F4-B29E-747BC696E66B}">
      <dgm:prSet phldrT="[Text]"/>
      <dgm:spPr/>
      <dgm:t>
        <a:bodyPr/>
        <a:lstStyle/>
        <a:p>
          <a:r>
            <a:rPr lang="en-US" dirty="0" smtClean="0"/>
            <a:t>Big Idea</a:t>
          </a:r>
          <a:endParaRPr lang="en-US" dirty="0"/>
        </a:p>
      </dgm:t>
    </dgm:pt>
    <dgm:pt modelId="{2276A2F7-4018-4B4D-B714-52E1A5106913}" type="parTrans" cxnId="{E26A1497-E828-411F-A7CB-A770DDAF5B0B}">
      <dgm:prSet/>
      <dgm:spPr/>
      <dgm:t>
        <a:bodyPr/>
        <a:lstStyle/>
        <a:p>
          <a:endParaRPr lang="en-US"/>
        </a:p>
      </dgm:t>
    </dgm:pt>
    <dgm:pt modelId="{10381A5F-3296-430D-949F-A7FE15156F02}" type="sibTrans" cxnId="{E26A1497-E828-411F-A7CB-A770DDAF5B0B}">
      <dgm:prSet/>
      <dgm:spPr/>
      <dgm:t>
        <a:bodyPr/>
        <a:lstStyle/>
        <a:p>
          <a:endParaRPr lang="en-US"/>
        </a:p>
      </dgm:t>
    </dgm:pt>
    <dgm:pt modelId="{8FC46FF3-782B-4A79-9687-AF2EDB2792F0}">
      <dgm:prSet phldrT="[Text]"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Point of view</a:t>
          </a:r>
          <a:endParaRPr lang="en-US" dirty="0">
            <a:latin typeface="Gill Sans MT" panose="020B0502020104020203" pitchFamily="34" charset="0"/>
          </a:endParaRPr>
        </a:p>
      </dgm:t>
    </dgm:pt>
    <dgm:pt modelId="{3FFC5CD9-F6C2-4722-875E-D388D097CF0D}" type="parTrans" cxnId="{3E82B65B-916D-4EA9-9DDC-A12F9D1FFE6C}">
      <dgm:prSet/>
      <dgm:spPr/>
      <dgm:t>
        <a:bodyPr/>
        <a:lstStyle/>
        <a:p>
          <a:endParaRPr lang="en-US"/>
        </a:p>
      </dgm:t>
    </dgm:pt>
    <dgm:pt modelId="{55D48F65-ADB8-4B52-BE57-A84BD4C8991C}" type="sibTrans" cxnId="{3E82B65B-916D-4EA9-9DDC-A12F9D1FFE6C}">
      <dgm:prSet/>
      <dgm:spPr/>
      <dgm:t>
        <a:bodyPr/>
        <a:lstStyle/>
        <a:p>
          <a:endParaRPr lang="en-US"/>
        </a:p>
      </dgm:t>
    </dgm:pt>
    <dgm:pt modelId="{3C544D58-5000-49C7-99E4-31910E5F0458}">
      <dgm:prSet phldrT="[Text]"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What’s at stake?</a:t>
          </a:r>
          <a:endParaRPr lang="en-US" dirty="0">
            <a:latin typeface="Gill Sans MT" panose="020B0502020104020203" pitchFamily="34" charset="0"/>
          </a:endParaRPr>
        </a:p>
      </dgm:t>
    </dgm:pt>
    <dgm:pt modelId="{4FEC58AC-B886-4DCF-B84E-BB4D3B45540D}" type="parTrans" cxnId="{76361BD9-F3FC-4D1F-9043-D346A1088FE2}">
      <dgm:prSet/>
      <dgm:spPr/>
      <dgm:t>
        <a:bodyPr/>
        <a:lstStyle/>
        <a:p>
          <a:endParaRPr lang="en-US"/>
        </a:p>
      </dgm:t>
    </dgm:pt>
    <dgm:pt modelId="{D6C132ED-47BE-4098-B94F-CD10B3459146}" type="sibTrans" cxnId="{76361BD9-F3FC-4D1F-9043-D346A1088FE2}">
      <dgm:prSet/>
      <dgm:spPr/>
      <dgm:t>
        <a:bodyPr/>
        <a:lstStyle/>
        <a:p>
          <a:endParaRPr lang="en-US"/>
        </a:p>
      </dgm:t>
    </dgm:pt>
    <dgm:pt modelId="{A98A35CE-EB4C-4EBE-B3A6-16061A970F09}">
      <dgm:prSet/>
      <dgm:spPr/>
      <dgm:t>
        <a:bodyPr/>
        <a:lstStyle/>
        <a:p>
          <a:r>
            <a:rPr lang="en-US" dirty="0" smtClean="0"/>
            <a:t>Story</a:t>
          </a:r>
          <a:endParaRPr lang="en-US" dirty="0"/>
        </a:p>
      </dgm:t>
    </dgm:pt>
    <dgm:pt modelId="{6C885104-D28D-4F2C-AB1D-278EDF9BDD21}" type="parTrans" cxnId="{D2005E8D-6313-4F60-85D1-D6EE794B020F}">
      <dgm:prSet/>
      <dgm:spPr/>
      <dgm:t>
        <a:bodyPr/>
        <a:lstStyle/>
        <a:p>
          <a:endParaRPr lang="en-US"/>
        </a:p>
      </dgm:t>
    </dgm:pt>
    <dgm:pt modelId="{FD7C46CC-0591-4D8B-9CE0-C2781E0E2FC8}" type="sibTrans" cxnId="{D2005E8D-6313-4F60-85D1-D6EE794B020F}">
      <dgm:prSet/>
      <dgm:spPr/>
      <dgm:t>
        <a:bodyPr/>
        <a:lstStyle/>
        <a:p>
          <a:endParaRPr lang="en-US"/>
        </a:p>
      </dgm:t>
    </dgm:pt>
    <dgm:pt modelId="{5688B198-D19A-4C71-8C9C-0754D60652AD}">
      <dgm:prSet phldrT="[Text]"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Empower your audience to take action</a:t>
          </a:r>
          <a:endParaRPr lang="en-US" dirty="0">
            <a:latin typeface="Gill Sans MT" panose="020B0502020104020203" pitchFamily="34" charset="0"/>
          </a:endParaRPr>
        </a:p>
      </dgm:t>
    </dgm:pt>
    <dgm:pt modelId="{7088208C-BF11-47D4-BC42-43C221803AFB}" type="parTrans" cxnId="{FE96CB3B-8694-4DAC-8D4D-9AD06176CA6D}">
      <dgm:prSet/>
      <dgm:spPr/>
      <dgm:t>
        <a:bodyPr/>
        <a:lstStyle/>
        <a:p>
          <a:endParaRPr lang="en-US"/>
        </a:p>
      </dgm:t>
    </dgm:pt>
    <dgm:pt modelId="{A2E039F2-260F-4A9A-B1D5-C0FEBDE30DB2}" type="sibTrans" cxnId="{FE96CB3B-8694-4DAC-8D4D-9AD06176CA6D}">
      <dgm:prSet/>
      <dgm:spPr/>
      <dgm:t>
        <a:bodyPr/>
        <a:lstStyle/>
        <a:p>
          <a:endParaRPr lang="en-US"/>
        </a:p>
      </dgm:t>
    </dgm:pt>
    <dgm:pt modelId="{070562D9-598A-4F8C-8130-7A83CC446793}">
      <dgm:prSet phldrT="[Text]"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7 Questions to ask</a:t>
          </a:r>
          <a:endParaRPr lang="en-US" dirty="0">
            <a:latin typeface="Gill Sans MT" panose="020B0502020104020203" pitchFamily="34" charset="0"/>
          </a:endParaRPr>
        </a:p>
      </dgm:t>
    </dgm:pt>
    <dgm:pt modelId="{F7D83FB9-6A1E-4195-9F87-7E04BD20EF6E}" type="parTrans" cxnId="{CACCC7AF-E4D2-4462-B4B9-62A1C8351BA4}">
      <dgm:prSet/>
      <dgm:spPr/>
      <dgm:t>
        <a:bodyPr/>
        <a:lstStyle/>
        <a:p>
          <a:endParaRPr lang="en-US"/>
        </a:p>
      </dgm:t>
    </dgm:pt>
    <dgm:pt modelId="{3B17F0BA-7C38-4454-BA55-4AE5E8277AD4}" type="sibTrans" cxnId="{CACCC7AF-E4D2-4462-B4B9-62A1C8351BA4}">
      <dgm:prSet/>
      <dgm:spPr/>
      <dgm:t>
        <a:bodyPr/>
        <a:lstStyle/>
        <a:p>
          <a:endParaRPr lang="en-US"/>
        </a:p>
      </dgm:t>
    </dgm:pt>
    <dgm:pt modelId="{7B605992-4449-4060-B165-49AEF20C7FA5}">
      <dgm:prSet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Beginning, middle and end</a:t>
          </a:r>
          <a:endParaRPr lang="en-US" dirty="0">
            <a:latin typeface="Gill Sans MT" panose="020B0502020104020203" pitchFamily="34" charset="0"/>
          </a:endParaRPr>
        </a:p>
      </dgm:t>
    </dgm:pt>
    <dgm:pt modelId="{47B17C26-6F15-411A-B88E-DAAE49DD37AA}" type="parTrans" cxnId="{06426DA2-7733-468B-9BAD-0781B93A01A9}">
      <dgm:prSet/>
      <dgm:spPr/>
      <dgm:t>
        <a:bodyPr/>
        <a:lstStyle/>
        <a:p>
          <a:endParaRPr lang="en-US"/>
        </a:p>
      </dgm:t>
    </dgm:pt>
    <dgm:pt modelId="{1496719D-8DE3-4FFE-9C28-986398F4FBCB}" type="sibTrans" cxnId="{06426DA2-7733-468B-9BAD-0781B93A01A9}">
      <dgm:prSet/>
      <dgm:spPr/>
      <dgm:t>
        <a:bodyPr/>
        <a:lstStyle/>
        <a:p>
          <a:endParaRPr lang="en-US"/>
        </a:p>
      </dgm:t>
    </dgm:pt>
    <dgm:pt modelId="{4A475263-158E-4080-8BE7-86939D8A7D5D}">
      <dgm:prSet/>
      <dgm:spPr/>
      <dgm:t>
        <a:bodyPr/>
        <a:lstStyle/>
        <a:p>
          <a:r>
            <a:rPr lang="en-US" dirty="0" smtClean="0">
              <a:latin typeface="Gill Sans MT" panose="020B0502020104020203" pitchFamily="34" charset="0"/>
            </a:rPr>
            <a:t>Make it memorable</a:t>
          </a:r>
          <a:endParaRPr lang="en-US" dirty="0">
            <a:latin typeface="Gill Sans MT" panose="020B0502020104020203" pitchFamily="34" charset="0"/>
          </a:endParaRPr>
        </a:p>
      </dgm:t>
    </dgm:pt>
    <dgm:pt modelId="{0FCE4299-99C1-4E0F-B59F-358C29BE96D7}" type="parTrans" cxnId="{B4A29245-B44E-489B-A602-2B4E44D651EE}">
      <dgm:prSet/>
      <dgm:spPr/>
      <dgm:t>
        <a:bodyPr/>
        <a:lstStyle/>
        <a:p>
          <a:endParaRPr lang="en-US"/>
        </a:p>
      </dgm:t>
    </dgm:pt>
    <dgm:pt modelId="{7B58E8CA-7983-45F6-BAA2-37731CB5081E}" type="sibTrans" cxnId="{B4A29245-B44E-489B-A602-2B4E44D651EE}">
      <dgm:prSet/>
      <dgm:spPr/>
      <dgm:t>
        <a:bodyPr/>
        <a:lstStyle/>
        <a:p>
          <a:endParaRPr lang="en-US"/>
        </a:p>
      </dgm:t>
    </dgm:pt>
    <dgm:pt modelId="{F36D6F93-38DF-4317-B8A2-A4EBF384F01E}" type="pres">
      <dgm:prSet presAssocID="{CD1DD9A7-0669-4F32-9EEB-438CCD968766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4B4BB17-B0CA-434D-A2A9-7DAAB9F0DA46}" type="pres">
      <dgm:prSet presAssocID="{A7610D25-1E5B-4620-88AB-1170984E7B9A}" presName="composite" presStyleCnt="0"/>
      <dgm:spPr/>
    </dgm:pt>
    <dgm:pt modelId="{EA5BBF29-BE6B-4896-BED3-B8F82301B536}" type="pres">
      <dgm:prSet presAssocID="{A7610D25-1E5B-4620-88AB-1170984E7B9A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3CBA4C-F731-48A3-B5C4-C0F7914706F6}" type="pres">
      <dgm:prSet presAssocID="{A7610D25-1E5B-4620-88AB-1170984E7B9A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3B4972-00CB-4609-8571-A4E05A008946}" type="pres">
      <dgm:prSet presAssocID="{CC15FBF4-9A94-4369-AB71-7F398D48D0DD}" presName="sp" presStyleCnt="0"/>
      <dgm:spPr/>
    </dgm:pt>
    <dgm:pt modelId="{9241C8A2-05B7-49AD-8039-FAF4CC227EF2}" type="pres">
      <dgm:prSet presAssocID="{A17F3284-6935-48C8-8B7E-5434FCE9D232}" presName="composite" presStyleCnt="0"/>
      <dgm:spPr/>
    </dgm:pt>
    <dgm:pt modelId="{80A26C9F-073C-44DA-980C-27F042628783}" type="pres">
      <dgm:prSet presAssocID="{A17F3284-6935-48C8-8B7E-5434FCE9D232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6E72B8-13AF-4582-859B-DD063865DA00}" type="pres">
      <dgm:prSet presAssocID="{A17F3284-6935-48C8-8B7E-5434FCE9D232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CB2695-92CE-4118-AC69-330DFDB9AA68}" type="pres">
      <dgm:prSet presAssocID="{CD8796E3-6FC9-415A-8661-B1A44BB20CCF}" presName="sp" presStyleCnt="0"/>
      <dgm:spPr/>
    </dgm:pt>
    <dgm:pt modelId="{2A612E5A-1733-4E92-9996-F1B76BAEB669}" type="pres">
      <dgm:prSet presAssocID="{2CCAFF9D-1578-40F4-B29E-747BC696E66B}" presName="composite" presStyleCnt="0"/>
      <dgm:spPr/>
    </dgm:pt>
    <dgm:pt modelId="{00AA5DBD-D766-4FF2-8F28-F7F82750F2C3}" type="pres">
      <dgm:prSet presAssocID="{2CCAFF9D-1578-40F4-B29E-747BC696E66B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908E9-8E57-4BEE-9345-25DFF4213E43}" type="pres">
      <dgm:prSet presAssocID="{2CCAFF9D-1578-40F4-B29E-747BC696E66B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B6B1AE-40D2-44A7-91D0-C3DDB1718112}" type="pres">
      <dgm:prSet presAssocID="{10381A5F-3296-430D-949F-A7FE15156F02}" presName="sp" presStyleCnt="0"/>
      <dgm:spPr/>
    </dgm:pt>
    <dgm:pt modelId="{AD004081-B49F-4E38-BFD2-35EFA2B3B0DD}" type="pres">
      <dgm:prSet presAssocID="{A98A35CE-EB4C-4EBE-B3A6-16061A970F09}" presName="composite" presStyleCnt="0"/>
      <dgm:spPr/>
    </dgm:pt>
    <dgm:pt modelId="{9C21C9C4-79D0-487D-AA38-0B7A38DAB5F6}" type="pres">
      <dgm:prSet presAssocID="{A98A35CE-EB4C-4EBE-B3A6-16061A970F09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70E828-CB3B-4238-8198-66EFB3C6B7C0}" type="pres">
      <dgm:prSet presAssocID="{A98A35CE-EB4C-4EBE-B3A6-16061A970F09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DF4120D-C542-419B-9034-7AA4548CA373}" type="presOf" srcId="{A17F3284-6935-48C8-8B7E-5434FCE9D232}" destId="{80A26C9F-073C-44DA-980C-27F042628783}" srcOrd="0" destOrd="0" presId="urn:microsoft.com/office/officeart/2005/8/layout/chevron2"/>
    <dgm:cxn modelId="{19D50D15-FC34-49E2-9EF2-44F19D829CA6}" type="presOf" srcId="{A7610D25-1E5B-4620-88AB-1170984E7B9A}" destId="{EA5BBF29-BE6B-4896-BED3-B8F82301B536}" srcOrd="0" destOrd="0" presId="urn:microsoft.com/office/officeart/2005/8/layout/chevron2"/>
    <dgm:cxn modelId="{E87696B6-1A87-4D15-9380-CC8FF65B0311}" srcId="{A17F3284-6935-48C8-8B7E-5434FCE9D232}" destId="{48990A31-B487-4185-AD52-C9C0C49A4E5D}" srcOrd="0" destOrd="0" parTransId="{C6E83E93-2A05-4DF5-B9B6-9B77C93E081A}" sibTransId="{75CF787F-8C02-4EB9-A00A-C99B308A7879}"/>
    <dgm:cxn modelId="{EC375900-69D3-4367-8A03-9C888243E648}" type="presOf" srcId="{3C544D58-5000-49C7-99E4-31910E5F0458}" destId="{A4C908E9-8E57-4BEE-9345-25DFF4213E43}" srcOrd="0" destOrd="1" presId="urn:microsoft.com/office/officeart/2005/8/layout/chevron2"/>
    <dgm:cxn modelId="{8CF17204-DA2E-437F-88BC-049FEDBE7F15}" type="presOf" srcId="{070562D9-598A-4F8C-8130-7A83CC446793}" destId="{D06E72B8-13AF-4582-859B-DD063865DA00}" srcOrd="0" destOrd="1" presId="urn:microsoft.com/office/officeart/2005/8/layout/chevron2"/>
    <dgm:cxn modelId="{8CB4DCCB-2938-4A58-9A0C-286ECAFB19DE}" type="presOf" srcId="{CD1DD9A7-0669-4F32-9EEB-438CCD968766}" destId="{F36D6F93-38DF-4317-B8A2-A4EBF384F01E}" srcOrd="0" destOrd="0" presId="urn:microsoft.com/office/officeart/2005/8/layout/chevron2"/>
    <dgm:cxn modelId="{3E82B65B-916D-4EA9-9DDC-A12F9D1FFE6C}" srcId="{2CCAFF9D-1578-40F4-B29E-747BC696E66B}" destId="{8FC46FF3-782B-4A79-9687-AF2EDB2792F0}" srcOrd="0" destOrd="0" parTransId="{3FFC5CD9-F6C2-4722-875E-D388D097CF0D}" sibTransId="{55D48F65-ADB8-4B52-BE57-A84BD4C8991C}"/>
    <dgm:cxn modelId="{CACCC7AF-E4D2-4462-B4B9-62A1C8351BA4}" srcId="{A17F3284-6935-48C8-8B7E-5434FCE9D232}" destId="{070562D9-598A-4F8C-8130-7A83CC446793}" srcOrd="1" destOrd="0" parTransId="{F7D83FB9-6A1E-4195-9F87-7E04BD20EF6E}" sibTransId="{3B17F0BA-7C38-4454-BA55-4AE5E8277AD4}"/>
    <dgm:cxn modelId="{B4A29245-B44E-489B-A602-2B4E44D651EE}" srcId="{A98A35CE-EB4C-4EBE-B3A6-16061A970F09}" destId="{4A475263-158E-4080-8BE7-86939D8A7D5D}" srcOrd="1" destOrd="0" parTransId="{0FCE4299-99C1-4E0F-B59F-358C29BE96D7}" sibTransId="{7B58E8CA-7983-45F6-BAA2-37731CB5081E}"/>
    <dgm:cxn modelId="{E26A1497-E828-411F-A7CB-A770DDAF5B0B}" srcId="{CD1DD9A7-0669-4F32-9EEB-438CCD968766}" destId="{2CCAFF9D-1578-40F4-B29E-747BC696E66B}" srcOrd="2" destOrd="0" parTransId="{2276A2F7-4018-4B4D-B714-52E1A5106913}" sibTransId="{10381A5F-3296-430D-949F-A7FE15156F02}"/>
    <dgm:cxn modelId="{2D96AE55-EF4D-4B34-AD74-47F416FC2257}" type="presOf" srcId="{5688B198-D19A-4C71-8C9C-0754D60652AD}" destId="{673CBA4C-F731-48A3-B5C4-C0F7914706F6}" srcOrd="0" destOrd="1" presId="urn:microsoft.com/office/officeart/2005/8/layout/chevron2"/>
    <dgm:cxn modelId="{BE4B2CFF-7E1A-4E56-8BED-670BEC92F85E}" srcId="{A7610D25-1E5B-4620-88AB-1170984E7B9A}" destId="{6FCCEB65-C95E-4051-B36E-3C79D63B41E0}" srcOrd="0" destOrd="0" parTransId="{9E46A68E-3AF8-4173-AE8A-4A454F4611EC}" sibTransId="{D9867D14-1BE0-49FF-A34C-A5C3FB33F01C}"/>
    <dgm:cxn modelId="{CB5E039E-E2D1-4D8E-870A-0D0C0A0496D0}" type="presOf" srcId="{4A475263-158E-4080-8BE7-86939D8A7D5D}" destId="{5170E828-CB3B-4238-8198-66EFB3C6B7C0}" srcOrd="0" destOrd="1" presId="urn:microsoft.com/office/officeart/2005/8/layout/chevron2"/>
    <dgm:cxn modelId="{21281908-A5EE-46E1-80F0-2B0DCE52A045}" type="presOf" srcId="{7B605992-4449-4060-B165-49AEF20C7FA5}" destId="{5170E828-CB3B-4238-8198-66EFB3C6B7C0}" srcOrd="0" destOrd="0" presId="urn:microsoft.com/office/officeart/2005/8/layout/chevron2"/>
    <dgm:cxn modelId="{FE96CB3B-8694-4DAC-8D4D-9AD06176CA6D}" srcId="{A7610D25-1E5B-4620-88AB-1170984E7B9A}" destId="{5688B198-D19A-4C71-8C9C-0754D60652AD}" srcOrd="1" destOrd="0" parTransId="{7088208C-BF11-47D4-BC42-43C221803AFB}" sibTransId="{A2E039F2-260F-4A9A-B1D5-C0FEBDE30DB2}"/>
    <dgm:cxn modelId="{9B0CF853-154F-494D-B33B-5A351B75BFB6}" srcId="{CD1DD9A7-0669-4F32-9EEB-438CCD968766}" destId="{A17F3284-6935-48C8-8B7E-5434FCE9D232}" srcOrd="1" destOrd="0" parTransId="{318F0759-6721-4452-AE2C-D596041A8778}" sibTransId="{CD8796E3-6FC9-415A-8661-B1A44BB20CCF}"/>
    <dgm:cxn modelId="{A42D6CD9-1CC7-4F3F-9656-079F1502024D}" srcId="{CD1DD9A7-0669-4F32-9EEB-438CCD968766}" destId="{A7610D25-1E5B-4620-88AB-1170984E7B9A}" srcOrd="0" destOrd="0" parTransId="{C475B1E3-3F88-4DFC-90AA-E06F48978480}" sibTransId="{CC15FBF4-9A94-4369-AB71-7F398D48D0DD}"/>
    <dgm:cxn modelId="{06426DA2-7733-468B-9BAD-0781B93A01A9}" srcId="{A98A35CE-EB4C-4EBE-B3A6-16061A970F09}" destId="{7B605992-4449-4060-B165-49AEF20C7FA5}" srcOrd="0" destOrd="0" parTransId="{47B17C26-6F15-411A-B88E-DAAE49DD37AA}" sibTransId="{1496719D-8DE3-4FFE-9C28-986398F4FBCB}"/>
    <dgm:cxn modelId="{A8C3944E-EE2D-4044-9929-45B425397A9E}" type="presOf" srcId="{6FCCEB65-C95E-4051-B36E-3C79D63B41E0}" destId="{673CBA4C-F731-48A3-B5C4-C0F7914706F6}" srcOrd="0" destOrd="0" presId="urn:microsoft.com/office/officeart/2005/8/layout/chevron2"/>
    <dgm:cxn modelId="{39229CED-DCE4-4B9C-B7E0-7A1B5761BB56}" type="presOf" srcId="{2CCAFF9D-1578-40F4-B29E-747BC696E66B}" destId="{00AA5DBD-D766-4FF2-8F28-F7F82750F2C3}" srcOrd="0" destOrd="0" presId="urn:microsoft.com/office/officeart/2005/8/layout/chevron2"/>
    <dgm:cxn modelId="{D2005E8D-6313-4F60-85D1-D6EE794B020F}" srcId="{CD1DD9A7-0669-4F32-9EEB-438CCD968766}" destId="{A98A35CE-EB4C-4EBE-B3A6-16061A970F09}" srcOrd="3" destOrd="0" parTransId="{6C885104-D28D-4F2C-AB1D-278EDF9BDD21}" sibTransId="{FD7C46CC-0591-4D8B-9CE0-C2781E0E2FC8}"/>
    <dgm:cxn modelId="{76361BD9-F3FC-4D1F-9043-D346A1088FE2}" srcId="{2CCAFF9D-1578-40F4-B29E-747BC696E66B}" destId="{3C544D58-5000-49C7-99E4-31910E5F0458}" srcOrd="1" destOrd="0" parTransId="{4FEC58AC-B886-4DCF-B84E-BB4D3B45540D}" sibTransId="{D6C132ED-47BE-4098-B94F-CD10B3459146}"/>
    <dgm:cxn modelId="{D600ADA0-BE0D-475D-B027-50971F9C5FEF}" type="presOf" srcId="{48990A31-B487-4185-AD52-C9C0C49A4E5D}" destId="{D06E72B8-13AF-4582-859B-DD063865DA00}" srcOrd="0" destOrd="0" presId="urn:microsoft.com/office/officeart/2005/8/layout/chevron2"/>
    <dgm:cxn modelId="{4AD74E0E-33C0-488B-B99D-6ABE2462787A}" type="presOf" srcId="{A98A35CE-EB4C-4EBE-B3A6-16061A970F09}" destId="{9C21C9C4-79D0-487D-AA38-0B7A38DAB5F6}" srcOrd="0" destOrd="0" presId="urn:microsoft.com/office/officeart/2005/8/layout/chevron2"/>
    <dgm:cxn modelId="{0C4FE2BB-E843-4332-8118-153C02B69101}" type="presOf" srcId="{8FC46FF3-782B-4A79-9687-AF2EDB2792F0}" destId="{A4C908E9-8E57-4BEE-9345-25DFF4213E43}" srcOrd="0" destOrd="0" presId="urn:microsoft.com/office/officeart/2005/8/layout/chevron2"/>
    <dgm:cxn modelId="{E7DC8864-8B6F-4BA9-B817-0B0DEFB5B1D7}" type="presParOf" srcId="{F36D6F93-38DF-4317-B8A2-A4EBF384F01E}" destId="{94B4BB17-B0CA-434D-A2A9-7DAAB9F0DA46}" srcOrd="0" destOrd="0" presId="urn:microsoft.com/office/officeart/2005/8/layout/chevron2"/>
    <dgm:cxn modelId="{1EBC1BD1-0413-4AFC-8DC8-0F6DB1B0D38D}" type="presParOf" srcId="{94B4BB17-B0CA-434D-A2A9-7DAAB9F0DA46}" destId="{EA5BBF29-BE6B-4896-BED3-B8F82301B536}" srcOrd="0" destOrd="0" presId="urn:microsoft.com/office/officeart/2005/8/layout/chevron2"/>
    <dgm:cxn modelId="{3997A275-5A15-4ACD-91C7-88E5A65C0A71}" type="presParOf" srcId="{94B4BB17-B0CA-434D-A2A9-7DAAB9F0DA46}" destId="{673CBA4C-F731-48A3-B5C4-C0F7914706F6}" srcOrd="1" destOrd="0" presId="urn:microsoft.com/office/officeart/2005/8/layout/chevron2"/>
    <dgm:cxn modelId="{05CAF65D-9D0D-41A5-95AC-ED5D49BA5E5A}" type="presParOf" srcId="{F36D6F93-38DF-4317-B8A2-A4EBF384F01E}" destId="{EA3B4972-00CB-4609-8571-A4E05A008946}" srcOrd="1" destOrd="0" presId="urn:microsoft.com/office/officeart/2005/8/layout/chevron2"/>
    <dgm:cxn modelId="{044F503B-1388-481D-863C-7085A43041E1}" type="presParOf" srcId="{F36D6F93-38DF-4317-B8A2-A4EBF384F01E}" destId="{9241C8A2-05B7-49AD-8039-FAF4CC227EF2}" srcOrd="2" destOrd="0" presId="urn:microsoft.com/office/officeart/2005/8/layout/chevron2"/>
    <dgm:cxn modelId="{85440326-F5B8-4980-BBD4-C619902596BB}" type="presParOf" srcId="{9241C8A2-05B7-49AD-8039-FAF4CC227EF2}" destId="{80A26C9F-073C-44DA-980C-27F042628783}" srcOrd="0" destOrd="0" presId="urn:microsoft.com/office/officeart/2005/8/layout/chevron2"/>
    <dgm:cxn modelId="{C0FB9F20-B61C-4AB8-A370-D7C65B091EA0}" type="presParOf" srcId="{9241C8A2-05B7-49AD-8039-FAF4CC227EF2}" destId="{D06E72B8-13AF-4582-859B-DD063865DA00}" srcOrd="1" destOrd="0" presId="urn:microsoft.com/office/officeart/2005/8/layout/chevron2"/>
    <dgm:cxn modelId="{9AE059BB-14A7-4365-80D9-8B1555922CD0}" type="presParOf" srcId="{F36D6F93-38DF-4317-B8A2-A4EBF384F01E}" destId="{E7CB2695-92CE-4118-AC69-330DFDB9AA68}" srcOrd="3" destOrd="0" presId="urn:microsoft.com/office/officeart/2005/8/layout/chevron2"/>
    <dgm:cxn modelId="{AFE222BD-E6BA-4B67-A83C-A9930F0DCC40}" type="presParOf" srcId="{F36D6F93-38DF-4317-B8A2-A4EBF384F01E}" destId="{2A612E5A-1733-4E92-9996-F1B76BAEB669}" srcOrd="4" destOrd="0" presId="urn:microsoft.com/office/officeart/2005/8/layout/chevron2"/>
    <dgm:cxn modelId="{464370FA-2471-4775-8676-A190F964E549}" type="presParOf" srcId="{2A612E5A-1733-4E92-9996-F1B76BAEB669}" destId="{00AA5DBD-D766-4FF2-8F28-F7F82750F2C3}" srcOrd="0" destOrd="0" presId="urn:microsoft.com/office/officeart/2005/8/layout/chevron2"/>
    <dgm:cxn modelId="{94BBA319-0AB7-4654-9B89-327477E569BE}" type="presParOf" srcId="{2A612E5A-1733-4E92-9996-F1B76BAEB669}" destId="{A4C908E9-8E57-4BEE-9345-25DFF4213E43}" srcOrd="1" destOrd="0" presId="urn:microsoft.com/office/officeart/2005/8/layout/chevron2"/>
    <dgm:cxn modelId="{39297950-C472-457D-9924-CC5AABA03826}" type="presParOf" srcId="{F36D6F93-38DF-4317-B8A2-A4EBF384F01E}" destId="{36B6B1AE-40D2-44A7-91D0-C3DDB1718112}" srcOrd="5" destOrd="0" presId="urn:microsoft.com/office/officeart/2005/8/layout/chevron2"/>
    <dgm:cxn modelId="{A1B3461F-9010-475E-8F31-722EF3B245F4}" type="presParOf" srcId="{F36D6F93-38DF-4317-B8A2-A4EBF384F01E}" destId="{AD004081-B49F-4E38-BFD2-35EFA2B3B0DD}" srcOrd="6" destOrd="0" presId="urn:microsoft.com/office/officeart/2005/8/layout/chevron2"/>
    <dgm:cxn modelId="{9C864511-C055-406C-9449-26688430E41E}" type="presParOf" srcId="{AD004081-B49F-4E38-BFD2-35EFA2B3B0DD}" destId="{9C21C9C4-79D0-487D-AA38-0B7A38DAB5F6}" srcOrd="0" destOrd="0" presId="urn:microsoft.com/office/officeart/2005/8/layout/chevron2"/>
    <dgm:cxn modelId="{249E79C0-ACD8-454C-8AA8-86E788A61EA3}" type="presParOf" srcId="{AD004081-B49F-4E38-BFD2-35EFA2B3B0DD}" destId="{5170E828-CB3B-4238-8198-66EFB3C6B7C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1DD9A7-0669-4F32-9EEB-438CCD968766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7610D25-1E5B-4620-88AB-1170984E7B9A}">
      <dgm:prSet phldrT="[Text]"/>
      <dgm:spPr/>
      <dgm:t>
        <a:bodyPr/>
        <a:lstStyle/>
        <a:p>
          <a:r>
            <a:rPr lang="en-US" dirty="0" smtClean="0"/>
            <a:t>Your Role</a:t>
          </a:r>
          <a:endParaRPr lang="en-US" dirty="0"/>
        </a:p>
      </dgm:t>
    </dgm:pt>
    <dgm:pt modelId="{C475B1E3-3F88-4DFC-90AA-E06F48978480}" type="parTrans" cxnId="{A42D6CD9-1CC7-4F3F-9656-079F1502024D}">
      <dgm:prSet/>
      <dgm:spPr/>
      <dgm:t>
        <a:bodyPr/>
        <a:lstStyle/>
        <a:p>
          <a:endParaRPr lang="en-US"/>
        </a:p>
      </dgm:t>
    </dgm:pt>
    <dgm:pt modelId="{CC15FBF4-9A94-4369-AB71-7F398D48D0DD}" type="sibTrans" cxnId="{A42D6CD9-1CC7-4F3F-9656-079F1502024D}">
      <dgm:prSet/>
      <dgm:spPr/>
      <dgm:t>
        <a:bodyPr/>
        <a:lstStyle/>
        <a:p>
          <a:endParaRPr lang="en-US"/>
        </a:p>
      </dgm:t>
    </dgm:pt>
    <dgm:pt modelId="{6FCCEB65-C95E-4051-B36E-3C79D63B41E0}">
      <dgm:prSet phldrT="[Text]"/>
      <dgm:spPr/>
      <dgm:t>
        <a:bodyPr/>
        <a:lstStyle/>
        <a:p>
          <a:r>
            <a:rPr lang="en-US" dirty="0" smtClean="0"/>
            <a:t>Teacher/mentor</a:t>
          </a:r>
          <a:endParaRPr lang="en-US" dirty="0"/>
        </a:p>
      </dgm:t>
    </dgm:pt>
    <dgm:pt modelId="{9E46A68E-3AF8-4173-AE8A-4A454F4611EC}" type="parTrans" cxnId="{BE4B2CFF-7E1A-4E56-8BED-670BEC92F85E}">
      <dgm:prSet/>
      <dgm:spPr/>
      <dgm:t>
        <a:bodyPr/>
        <a:lstStyle/>
        <a:p>
          <a:endParaRPr lang="en-US"/>
        </a:p>
      </dgm:t>
    </dgm:pt>
    <dgm:pt modelId="{D9867D14-1BE0-49FF-A34C-A5C3FB33F01C}" type="sibTrans" cxnId="{BE4B2CFF-7E1A-4E56-8BED-670BEC92F85E}">
      <dgm:prSet/>
      <dgm:spPr/>
      <dgm:t>
        <a:bodyPr/>
        <a:lstStyle/>
        <a:p>
          <a:endParaRPr lang="en-US"/>
        </a:p>
      </dgm:t>
    </dgm:pt>
    <dgm:pt modelId="{A17F3284-6935-48C8-8B7E-5434FCE9D232}">
      <dgm:prSet phldrT="[Text]"/>
      <dgm:spPr/>
      <dgm:t>
        <a:bodyPr/>
        <a:lstStyle/>
        <a:p>
          <a:r>
            <a:rPr lang="en-US" dirty="0" smtClean="0"/>
            <a:t>Audience</a:t>
          </a:r>
          <a:endParaRPr lang="en-US" dirty="0"/>
        </a:p>
      </dgm:t>
    </dgm:pt>
    <dgm:pt modelId="{318F0759-6721-4452-AE2C-D596041A8778}" type="parTrans" cxnId="{9B0CF853-154F-494D-B33B-5A351B75BFB6}">
      <dgm:prSet/>
      <dgm:spPr/>
      <dgm:t>
        <a:bodyPr/>
        <a:lstStyle/>
        <a:p>
          <a:endParaRPr lang="en-US"/>
        </a:p>
      </dgm:t>
    </dgm:pt>
    <dgm:pt modelId="{CD8796E3-6FC9-415A-8661-B1A44BB20CCF}" type="sibTrans" cxnId="{9B0CF853-154F-494D-B33B-5A351B75BFB6}">
      <dgm:prSet/>
      <dgm:spPr/>
      <dgm:t>
        <a:bodyPr/>
        <a:lstStyle/>
        <a:p>
          <a:endParaRPr lang="en-US"/>
        </a:p>
      </dgm:t>
    </dgm:pt>
    <dgm:pt modelId="{48990A31-B487-4185-AD52-C9C0C49A4E5D}">
      <dgm:prSet phldrT="[Text]"/>
      <dgm:spPr/>
      <dgm:t>
        <a:bodyPr/>
        <a:lstStyle/>
        <a:p>
          <a:r>
            <a:rPr lang="en-US" dirty="0" smtClean="0"/>
            <a:t>Who are they?</a:t>
          </a:r>
          <a:endParaRPr lang="en-US" dirty="0"/>
        </a:p>
      </dgm:t>
    </dgm:pt>
    <dgm:pt modelId="{C6E83E93-2A05-4DF5-B9B6-9B77C93E081A}" type="parTrans" cxnId="{E87696B6-1A87-4D15-9380-CC8FF65B0311}">
      <dgm:prSet/>
      <dgm:spPr/>
      <dgm:t>
        <a:bodyPr/>
        <a:lstStyle/>
        <a:p>
          <a:endParaRPr lang="en-US"/>
        </a:p>
      </dgm:t>
    </dgm:pt>
    <dgm:pt modelId="{75CF787F-8C02-4EB9-A00A-C99B308A7879}" type="sibTrans" cxnId="{E87696B6-1A87-4D15-9380-CC8FF65B0311}">
      <dgm:prSet/>
      <dgm:spPr/>
      <dgm:t>
        <a:bodyPr/>
        <a:lstStyle/>
        <a:p>
          <a:endParaRPr lang="en-US"/>
        </a:p>
      </dgm:t>
    </dgm:pt>
    <dgm:pt modelId="{2CCAFF9D-1578-40F4-B29E-747BC696E66B}">
      <dgm:prSet phldrT="[Text]"/>
      <dgm:spPr/>
      <dgm:t>
        <a:bodyPr/>
        <a:lstStyle/>
        <a:p>
          <a:r>
            <a:rPr lang="en-US" dirty="0" smtClean="0"/>
            <a:t>Big Idea</a:t>
          </a:r>
          <a:endParaRPr lang="en-US" dirty="0"/>
        </a:p>
      </dgm:t>
    </dgm:pt>
    <dgm:pt modelId="{2276A2F7-4018-4B4D-B714-52E1A5106913}" type="parTrans" cxnId="{E26A1497-E828-411F-A7CB-A770DDAF5B0B}">
      <dgm:prSet/>
      <dgm:spPr/>
      <dgm:t>
        <a:bodyPr/>
        <a:lstStyle/>
        <a:p>
          <a:endParaRPr lang="en-US"/>
        </a:p>
      </dgm:t>
    </dgm:pt>
    <dgm:pt modelId="{10381A5F-3296-430D-949F-A7FE15156F02}" type="sibTrans" cxnId="{E26A1497-E828-411F-A7CB-A770DDAF5B0B}">
      <dgm:prSet/>
      <dgm:spPr/>
      <dgm:t>
        <a:bodyPr/>
        <a:lstStyle/>
        <a:p>
          <a:endParaRPr lang="en-US"/>
        </a:p>
      </dgm:t>
    </dgm:pt>
    <dgm:pt modelId="{8FC46FF3-782B-4A79-9687-AF2EDB2792F0}">
      <dgm:prSet phldrT="[Text]"/>
      <dgm:spPr/>
      <dgm:t>
        <a:bodyPr/>
        <a:lstStyle/>
        <a:p>
          <a:r>
            <a:rPr lang="en-US" dirty="0" smtClean="0"/>
            <a:t>Point of view</a:t>
          </a:r>
          <a:endParaRPr lang="en-US" dirty="0"/>
        </a:p>
      </dgm:t>
    </dgm:pt>
    <dgm:pt modelId="{3FFC5CD9-F6C2-4722-875E-D388D097CF0D}" type="parTrans" cxnId="{3E82B65B-916D-4EA9-9DDC-A12F9D1FFE6C}">
      <dgm:prSet/>
      <dgm:spPr/>
      <dgm:t>
        <a:bodyPr/>
        <a:lstStyle/>
        <a:p>
          <a:endParaRPr lang="en-US"/>
        </a:p>
      </dgm:t>
    </dgm:pt>
    <dgm:pt modelId="{55D48F65-ADB8-4B52-BE57-A84BD4C8991C}" type="sibTrans" cxnId="{3E82B65B-916D-4EA9-9DDC-A12F9D1FFE6C}">
      <dgm:prSet/>
      <dgm:spPr/>
      <dgm:t>
        <a:bodyPr/>
        <a:lstStyle/>
        <a:p>
          <a:endParaRPr lang="en-US"/>
        </a:p>
      </dgm:t>
    </dgm:pt>
    <dgm:pt modelId="{3C544D58-5000-49C7-99E4-31910E5F0458}">
      <dgm:prSet phldrT="[Text]"/>
      <dgm:spPr/>
      <dgm:t>
        <a:bodyPr/>
        <a:lstStyle/>
        <a:p>
          <a:r>
            <a:rPr lang="en-US" dirty="0" smtClean="0"/>
            <a:t>What’s at stake?</a:t>
          </a:r>
          <a:endParaRPr lang="en-US" dirty="0"/>
        </a:p>
      </dgm:t>
    </dgm:pt>
    <dgm:pt modelId="{4FEC58AC-B886-4DCF-B84E-BB4D3B45540D}" type="parTrans" cxnId="{76361BD9-F3FC-4D1F-9043-D346A1088FE2}">
      <dgm:prSet/>
      <dgm:spPr/>
      <dgm:t>
        <a:bodyPr/>
        <a:lstStyle/>
        <a:p>
          <a:endParaRPr lang="en-US"/>
        </a:p>
      </dgm:t>
    </dgm:pt>
    <dgm:pt modelId="{D6C132ED-47BE-4098-B94F-CD10B3459146}" type="sibTrans" cxnId="{76361BD9-F3FC-4D1F-9043-D346A1088FE2}">
      <dgm:prSet/>
      <dgm:spPr/>
      <dgm:t>
        <a:bodyPr/>
        <a:lstStyle/>
        <a:p>
          <a:endParaRPr lang="en-US"/>
        </a:p>
      </dgm:t>
    </dgm:pt>
    <dgm:pt modelId="{A98A35CE-EB4C-4EBE-B3A6-16061A970F09}">
      <dgm:prSet/>
      <dgm:spPr/>
      <dgm:t>
        <a:bodyPr/>
        <a:lstStyle/>
        <a:p>
          <a:r>
            <a:rPr lang="en-US" dirty="0" smtClean="0"/>
            <a:t>Story</a:t>
          </a:r>
          <a:endParaRPr lang="en-US" dirty="0"/>
        </a:p>
      </dgm:t>
    </dgm:pt>
    <dgm:pt modelId="{6C885104-D28D-4F2C-AB1D-278EDF9BDD21}" type="parTrans" cxnId="{D2005E8D-6313-4F60-85D1-D6EE794B020F}">
      <dgm:prSet/>
      <dgm:spPr/>
      <dgm:t>
        <a:bodyPr/>
        <a:lstStyle/>
        <a:p>
          <a:endParaRPr lang="en-US"/>
        </a:p>
      </dgm:t>
    </dgm:pt>
    <dgm:pt modelId="{FD7C46CC-0591-4D8B-9CE0-C2781E0E2FC8}" type="sibTrans" cxnId="{D2005E8D-6313-4F60-85D1-D6EE794B020F}">
      <dgm:prSet/>
      <dgm:spPr/>
      <dgm:t>
        <a:bodyPr/>
        <a:lstStyle/>
        <a:p>
          <a:endParaRPr lang="en-US"/>
        </a:p>
      </dgm:t>
    </dgm:pt>
    <dgm:pt modelId="{5688B198-D19A-4C71-8C9C-0754D60652AD}">
      <dgm:prSet phldrT="[Text]"/>
      <dgm:spPr/>
      <dgm:t>
        <a:bodyPr/>
        <a:lstStyle/>
        <a:p>
          <a:r>
            <a:rPr lang="en-US" dirty="0" smtClean="0"/>
            <a:t>Empower your audience to take action</a:t>
          </a:r>
          <a:endParaRPr lang="en-US" dirty="0"/>
        </a:p>
      </dgm:t>
    </dgm:pt>
    <dgm:pt modelId="{7088208C-BF11-47D4-BC42-43C221803AFB}" type="parTrans" cxnId="{FE96CB3B-8694-4DAC-8D4D-9AD06176CA6D}">
      <dgm:prSet/>
      <dgm:spPr/>
      <dgm:t>
        <a:bodyPr/>
        <a:lstStyle/>
        <a:p>
          <a:endParaRPr lang="en-US"/>
        </a:p>
      </dgm:t>
    </dgm:pt>
    <dgm:pt modelId="{A2E039F2-260F-4A9A-B1D5-C0FEBDE30DB2}" type="sibTrans" cxnId="{FE96CB3B-8694-4DAC-8D4D-9AD06176CA6D}">
      <dgm:prSet/>
      <dgm:spPr/>
      <dgm:t>
        <a:bodyPr/>
        <a:lstStyle/>
        <a:p>
          <a:endParaRPr lang="en-US"/>
        </a:p>
      </dgm:t>
    </dgm:pt>
    <dgm:pt modelId="{070562D9-598A-4F8C-8130-7A83CC446793}">
      <dgm:prSet phldrT="[Text]"/>
      <dgm:spPr/>
      <dgm:t>
        <a:bodyPr/>
        <a:lstStyle/>
        <a:p>
          <a:r>
            <a:rPr lang="en-US" dirty="0" smtClean="0"/>
            <a:t>7 Questions to ask</a:t>
          </a:r>
          <a:endParaRPr lang="en-US" dirty="0"/>
        </a:p>
      </dgm:t>
    </dgm:pt>
    <dgm:pt modelId="{F7D83FB9-6A1E-4195-9F87-7E04BD20EF6E}" type="parTrans" cxnId="{CACCC7AF-E4D2-4462-B4B9-62A1C8351BA4}">
      <dgm:prSet/>
      <dgm:spPr/>
      <dgm:t>
        <a:bodyPr/>
        <a:lstStyle/>
        <a:p>
          <a:endParaRPr lang="en-US"/>
        </a:p>
      </dgm:t>
    </dgm:pt>
    <dgm:pt modelId="{3B17F0BA-7C38-4454-BA55-4AE5E8277AD4}" type="sibTrans" cxnId="{CACCC7AF-E4D2-4462-B4B9-62A1C8351BA4}">
      <dgm:prSet/>
      <dgm:spPr/>
      <dgm:t>
        <a:bodyPr/>
        <a:lstStyle/>
        <a:p>
          <a:endParaRPr lang="en-US"/>
        </a:p>
      </dgm:t>
    </dgm:pt>
    <dgm:pt modelId="{7B605992-4449-4060-B165-49AEF20C7FA5}">
      <dgm:prSet/>
      <dgm:spPr/>
      <dgm:t>
        <a:bodyPr/>
        <a:lstStyle/>
        <a:p>
          <a:r>
            <a:rPr lang="en-US" dirty="0" smtClean="0"/>
            <a:t>Beginning, middle and end</a:t>
          </a:r>
          <a:endParaRPr lang="en-US" dirty="0"/>
        </a:p>
      </dgm:t>
    </dgm:pt>
    <dgm:pt modelId="{47B17C26-6F15-411A-B88E-DAAE49DD37AA}" type="parTrans" cxnId="{06426DA2-7733-468B-9BAD-0781B93A01A9}">
      <dgm:prSet/>
      <dgm:spPr/>
      <dgm:t>
        <a:bodyPr/>
        <a:lstStyle/>
        <a:p>
          <a:endParaRPr lang="en-US"/>
        </a:p>
      </dgm:t>
    </dgm:pt>
    <dgm:pt modelId="{1496719D-8DE3-4FFE-9C28-986398F4FBCB}" type="sibTrans" cxnId="{06426DA2-7733-468B-9BAD-0781B93A01A9}">
      <dgm:prSet/>
      <dgm:spPr/>
      <dgm:t>
        <a:bodyPr/>
        <a:lstStyle/>
        <a:p>
          <a:endParaRPr lang="en-US"/>
        </a:p>
      </dgm:t>
    </dgm:pt>
    <dgm:pt modelId="{4A475263-158E-4080-8BE7-86939D8A7D5D}">
      <dgm:prSet/>
      <dgm:spPr/>
      <dgm:t>
        <a:bodyPr/>
        <a:lstStyle/>
        <a:p>
          <a:r>
            <a:rPr lang="en-US" dirty="0" smtClean="0"/>
            <a:t>Make it memorable</a:t>
          </a:r>
          <a:endParaRPr lang="en-US" dirty="0"/>
        </a:p>
      </dgm:t>
    </dgm:pt>
    <dgm:pt modelId="{0FCE4299-99C1-4E0F-B59F-358C29BE96D7}" type="parTrans" cxnId="{B4A29245-B44E-489B-A602-2B4E44D651EE}">
      <dgm:prSet/>
      <dgm:spPr/>
      <dgm:t>
        <a:bodyPr/>
        <a:lstStyle/>
        <a:p>
          <a:endParaRPr lang="en-US"/>
        </a:p>
      </dgm:t>
    </dgm:pt>
    <dgm:pt modelId="{7B58E8CA-7983-45F6-BAA2-37731CB5081E}" type="sibTrans" cxnId="{B4A29245-B44E-489B-A602-2B4E44D651EE}">
      <dgm:prSet/>
      <dgm:spPr/>
      <dgm:t>
        <a:bodyPr/>
        <a:lstStyle/>
        <a:p>
          <a:endParaRPr lang="en-US"/>
        </a:p>
      </dgm:t>
    </dgm:pt>
    <dgm:pt modelId="{F36D6F93-38DF-4317-B8A2-A4EBF384F01E}" type="pres">
      <dgm:prSet presAssocID="{CD1DD9A7-0669-4F32-9EEB-438CCD968766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4B4BB17-B0CA-434D-A2A9-7DAAB9F0DA46}" type="pres">
      <dgm:prSet presAssocID="{A7610D25-1E5B-4620-88AB-1170984E7B9A}" presName="composite" presStyleCnt="0"/>
      <dgm:spPr/>
    </dgm:pt>
    <dgm:pt modelId="{EA5BBF29-BE6B-4896-BED3-B8F82301B536}" type="pres">
      <dgm:prSet presAssocID="{A7610D25-1E5B-4620-88AB-1170984E7B9A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73CBA4C-F731-48A3-B5C4-C0F7914706F6}" type="pres">
      <dgm:prSet presAssocID="{A7610D25-1E5B-4620-88AB-1170984E7B9A}" presName="descendantText" presStyleLbl="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A3B4972-00CB-4609-8571-A4E05A008946}" type="pres">
      <dgm:prSet presAssocID="{CC15FBF4-9A94-4369-AB71-7F398D48D0DD}" presName="sp" presStyleCnt="0"/>
      <dgm:spPr/>
    </dgm:pt>
    <dgm:pt modelId="{9241C8A2-05B7-49AD-8039-FAF4CC227EF2}" type="pres">
      <dgm:prSet presAssocID="{A17F3284-6935-48C8-8B7E-5434FCE9D232}" presName="composite" presStyleCnt="0"/>
      <dgm:spPr/>
    </dgm:pt>
    <dgm:pt modelId="{80A26C9F-073C-44DA-980C-27F042628783}" type="pres">
      <dgm:prSet presAssocID="{A17F3284-6935-48C8-8B7E-5434FCE9D232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06E72B8-13AF-4582-859B-DD063865DA00}" type="pres">
      <dgm:prSet presAssocID="{A17F3284-6935-48C8-8B7E-5434FCE9D232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CB2695-92CE-4118-AC69-330DFDB9AA68}" type="pres">
      <dgm:prSet presAssocID="{CD8796E3-6FC9-415A-8661-B1A44BB20CCF}" presName="sp" presStyleCnt="0"/>
      <dgm:spPr/>
    </dgm:pt>
    <dgm:pt modelId="{2A612E5A-1733-4E92-9996-F1B76BAEB669}" type="pres">
      <dgm:prSet presAssocID="{2CCAFF9D-1578-40F4-B29E-747BC696E66B}" presName="composite" presStyleCnt="0"/>
      <dgm:spPr/>
    </dgm:pt>
    <dgm:pt modelId="{00AA5DBD-D766-4FF2-8F28-F7F82750F2C3}" type="pres">
      <dgm:prSet presAssocID="{2CCAFF9D-1578-40F4-B29E-747BC696E66B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C908E9-8E57-4BEE-9345-25DFF4213E43}" type="pres">
      <dgm:prSet presAssocID="{2CCAFF9D-1578-40F4-B29E-747BC696E66B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6B6B1AE-40D2-44A7-91D0-C3DDB1718112}" type="pres">
      <dgm:prSet presAssocID="{10381A5F-3296-430D-949F-A7FE15156F02}" presName="sp" presStyleCnt="0"/>
      <dgm:spPr/>
    </dgm:pt>
    <dgm:pt modelId="{AD004081-B49F-4E38-BFD2-35EFA2B3B0DD}" type="pres">
      <dgm:prSet presAssocID="{A98A35CE-EB4C-4EBE-B3A6-16061A970F09}" presName="composite" presStyleCnt="0"/>
      <dgm:spPr/>
    </dgm:pt>
    <dgm:pt modelId="{9C21C9C4-79D0-487D-AA38-0B7A38DAB5F6}" type="pres">
      <dgm:prSet presAssocID="{A98A35CE-EB4C-4EBE-B3A6-16061A970F09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170E828-CB3B-4238-8198-66EFB3C6B7C0}" type="pres">
      <dgm:prSet presAssocID="{A98A35CE-EB4C-4EBE-B3A6-16061A970F09}" presName="descendantText" presStyleLbl="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4711CE2-92DF-47AE-BBF3-2D1DE642A998}" type="presOf" srcId="{2CCAFF9D-1578-40F4-B29E-747BC696E66B}" destId="{00AA5DBD-D766-4FF2-8F28-F7F82750F2C3}" srcOrd="0" destOrd="0" presId="urn:microsoft.com/office/officeart/2005/8/layout/chevron2"/>
    <dgm:cxn modelId="{DA3237F2-40C6-4E62-B3F4-264333236DFC}" type="presOf" srcId="{A98A35CE-EB4C-4EBE-B3A6-16061A970F09}" destId="{9C21C9C4-79D0-487D-AA38-0B7A38DAB5F6}" srcOrd="0" destOrd="0" presId="urn:microsoft.com/office/officeart/2005/8/layout/chevron2"/>
    <dgm:cxn modelId="{FE96CB3B-8694-4DAC-8D4D-9AD06176CA6D}" srcId="{A7610D25-1E5B-4620-88AB-1170984E7B9A}" destId="{5688B198-D19A-4C71-8C9C-0754D60652AD}" srcOrd="1" destOrd="0" parTransId="{7088208C-BF11-47D4-BC42-43C221803AFB}" sibTransId="{A2E039F2-260F-4A9A-B1D5-C0FEBDE30DB2}"/>
    <dgm:cxn modelId="{67FB18EA-F6DE-4F77-AE17-7EEDC9CB7EF6}" type="presOf" srcId="{A7610D25-1E5B-4620-88AB-1170984E7B9A}" destId="{EA5BBF29-BE6B-4896-BED3-B8F82301B536}" srcOrd="0" destOrd="0" presId="urn:microsoft.com/office/officeart/2005/8/layout/chevron2"/>
    <dgm:cxn modelId="{E87696B6-1A87-4D15-9380-CC8FF65B0311}" srcId="{A17F3284-6935-48C8-8B7E-5434FCE9D232}" destId="{48990A31-B487-4185-AD52-C9C0C49A4E5D}" srcOrd="0" destOrd="0" parTransId="{C6E83E93-2A05-4DF5-B9B6-9B77C93E081A}" sibTransId="{75CF787F-8C02-4EB9-A00A-C99B308A7879}"/>
    <dgm:cxn modelId="{D2005E8D-6313-4F60-85D1-D6EE794B020F}" srcId="{CD1DD9A7-0669-4F32-9EEB-438CCD968766}" destId="{A98A35CE-EB4C-4EBE-B3A6-16061A970F09}" srcOrd="3" destOrd="0" parTransId="{6C885104-D28D-4F2C-AB1D-278EDF9BDD21}" sibTransId="{FD7C46CC-0591-4D8B-9CE0-C2781E0E2FC8}"/>
    <dgm:cxn modelId="{B4A29245-B44E-489B-A602-2B4E44D651EE}" srcId="{A98A35CE-EB4C-4EBE-B3A6-16061A970F09}" destId="{4A475263-158E-4080-8BE7-86939D8A7D5D}" srcOrd="1" destOrd="0" parTransId="{0FCE4299-99C1-4E0F-B59F-358C29BE96D7}" sibTransId="{7B58E8CA-7983-45F6-BAA2-37731CB5081E}"/>
    <dgm:cxn modelId="{AAD56011-5479-498A-A16E-5E7C75459A23}" type="presOf" srcId="{5688B198-D19A-4C71-8C9C-0754D60652AD}" destId="{673CBA4C-F731-48A3-B5C4-C0F7914706F6}" srcOrd="0" destOrd="1" presId="urn:microsoft.com/office/officeart/2005/8/layout/chevron2"/>
    <dgm:cxn modelId="{F397B592-2573-4DB6-AD83-19B2A1635DBA}" type="presOf" srcId="{CD1DD9A7-0669-4F32-9EEB-438CCD968766}" destId="{F36D6F93-38DF-4317-B8A2-A4EBF384F01E}" srcOrd="0" destOrd="0" presId="urn:microsoft.com/office/officeart/2005/8/layout/chevron2"/>
    <dgm:cxn modelId="{A3553D2E-ECA5-4855-AB5E-C09E9998E6A6}" type="presOf" srcId="{6FCCEB65-C95E-4051-B36E-3C79D63B41E0}" destId="{673CBA4C-F731-48A3-B5C4-C0F7914706F6}" srcOrd="0" destOrd="0" presId="urn:microsoft.com/office/officeart/2005/8/layout/chevron2"/>
    <dgm:cxn modelId="{BE4B2CFF-7E1A-4E56-8BED-670BEC92F85E}" srcId="{A7610D25-1E5B-4620-88AB-1170984E7B9A}" destId="{6FCCEB65-C95E-4051-B36E-3C79D63B41E0}" srcOrd="0" destOrd="0" parTransId="{9E46A68E-3AF8-4173-AE8A-4A454F4611EC}" sibTransId="{D9867D14-1BE0-49FF-A34C-A5C3FB33F01C}"/>
    <dgm:cxn modelId="{A7567EF2-7041-45BC-8758-9165D635C503}" type="presOf" srcId="{7B605992-4449-4060-B165-49AEF20C7FA5}" destId="{5170E828-CB3B-4238-8198-66EFB3C6B7C0}" srcOrd="0" destOrd="0" presId="urn:microsoft.com/office/officeart/2005/8/layout/chevron2"/>
    <dgm:cxn modelId="{5DD53F33-E4B4-4E47-B4B2-07C27638B8E8}" type="presOf" srcId="{070562D9-598A-4F8C-8130-7A83CC446793}" destId="{D06E72B8-13AF-4582-859B-DD063865DA00}" srcOrd="0" destOrd="1" presId="urn:microsoft.com/office/officeart/2005/8/layout/chevron2"/>
    <dgm:cxn modelId="{5D4B8DDB-0CFE-4C6C-A180-FDD5D02A52F7}" type="presOf" srcId="{4A475263-158E-4080-8BE7-86939D8A7D5D}" destId="{5170E828-CB3B-4238-8198-66EFB3C6B7C0}" srcOrd="0" destOrd="1" presId="urn:microsoft.com/office/officeart/2005/8/layout/chevron2"/>
    <dgm:cxn modelId="{EF413E76-E4A9-4DC8-8A3D-7495B7A02A45}" type="presOf" srcId="{A17F3284-6935-48C8-8B7E-5434FCE9D232}" destId="{80A26C9F-073C-44DA-980C-27F042628783}" srcOrd="0" destOrd="0" presId="urn:microsoft.com/office/officeart/2005/8/layout/chevron2"/>
    <dgm:cxn modelId="{E67AD671-52CF-4B20-968E-B121AF981CC8}" type="presOf" srcId="{48990A31-B487-4185-AD52-C9C0C49A4E5D}" destId="{D06E72B8-13AF-4582-859B-DD063865DA00}" srcOrd="0" destOrd="0" presId="urn:microsoft.com/office/officeart/2005/8/layout/chevron2"/>
    <dgm:cxn modelId="{6CC60CC1-E540-4B8A-99BD-259A5C6B10FA}" type="presOf" srcId="{8FC46FF3-782B-4A79-9687-AF2EDB2792F0}" destId="{A4C908E9-8E57-4BEE-9345-25DFF4213E43}" srcOrd="0" destOrd="0" presId="urn:microsoft.com/office/officeart/2005/8/layout/chevron2"/>
    <dgm:cxn modelId="{3E82B65B-916D-4EA9-9DDC-A12F9D1FFE6C}" srcId="{2CCAFF9D-1578-40F4-B29E-747BC696E66B}" destId="{8FC46FF3-782B-4A79-9687-AF2EDB2792F0}" srcOrd="0" destOrd="0" parTransId="{3FFC5CD9-F6C2-4722-875E-D388D097CF0D}" sibTransId="{55D48F65-ADB8-4B52-BE57-A84BD4C8991C}"/>
    <dgm:cxn modelId="{A42D6CD9-1CC7-4F3F-9656-079F1502024D}" srcId="{CD1DD9A7-0669-4F32-9EEB-438CCD968766}" destId="{A7610D25-1E5B-4620-88AB-1170984E7B9A}" srcOrd="0" destOrd="0" parTransId="{C475B1E3-3F88-4DFC-90AA-E06F48978480}" sibTransId="{CC15FBF4-9A94-4369-AB71-7F398D48D0DD}"/>
    <dgm:cxn modelId="{9B0CF853-154F-494D-B33B-5A351B75BFB6}" srcId="{CD1DD9A7-0669-4F32-9EEB-438CCD968766}" destId="{A17F3284-6935-48C8-8B7E-5434FCE9D232}" srcOrd="1" destOrd="0" parTransId="{318F0759-6721-4452-AE2C-D596041A8778}" sibTransId="{CD8796E3-6FC9-415A-8661-B1A44BB20CCF}"/>
    <dgm:cxn modelId="{CACCC7AF-E4D2-4462-B4B9-62A1C8351BA4}" srcId="{A17F3284-6935-48C8-8B7E-5434FCE9D232}" destId="{070562D9-598A-4F8C-8130-7A83CC446793}" srcOrd="1" destOrd="0" parTransId="{F7D83FB9-6A1E-4195-9F87-7E04BD20EF6E}" sibTransId="{3B17F0BA-7C38-4454-BA55-4AE5E8277AD4}"/>
    <dgm:cxn modelId="{E26A1497-E828-411F-A7CB-A770DDAF5B0B}" srcId="{CD1DD9A7-0669-4F32-9EEB-438CCD968766}" destId="{2CCAFF9D-1578-40F4-B29E-747BC696E66B}" srcOrd="2" destOrd="0" parTransId="{2276A2F7-4018-4B4D-B714-52E1A5106913}" sibTransId="{10381A5F-3296-430D-949F-A7FE15156F02}"/>
    <dgm:cxn modelId="{06426DA2-7733-468B-9BAD-0781B93A01A9}" srcId="{A98A35CE-EB4C-4EBE-B3A6-16061A970F09}" destId="{7B605992-4449-4060-B165-49AEF20C7FA5}" srcOrd="0" destOrd="0" parTransId="{47B17C26-6F15-411A-B88E-DAAE49DD37AA}" sibTransId="{1496719D-8DE3-4FFE-9C28-986398F4FBCB}"/>
    <dgm:cxn modelId="{938EB5C1-D69E-4019-A156-C0F6948C67BC}" type="presOf" srcId="{3C544D58-5000-49C7-99E4-31910E5F0458}" destId="{A4C908E9-8E57-4BEE-9345-25DFF4213E43}" srcOrd="0" destOrd="1" presId="urn:microsoft.com/office/officeart/2005/8/layout/chevron2"/>
    <dgm:cxn modelId="{76361BD9-F3FC-4D1F-9043-D346A1088FE2}" srcId="{2CCAFF9D-1578-40F4-B29E-747BC696E66B}" destId="{3C544D58-5000-49C7-99E4-31910E5F0458}" srcOrd="1" destOrd="0" parTransId="{4FEC58AC-B886-4DCF-B84E-BB4D3B45540D}" sibTransId="{D6C132ED-47BE-4098-B94F-CD10B3459146}"/>
    <dgm:cxn modelId="{3C290296-6EE5-4BAD-9031-8BBF8965A7D8}" type="presParOf" srcId="{F36D6F93-38DF-4317-B8A2-A4EBF384F01E}" destId="{94B4BB17-B0CA-434D-A2A9-7DAAB9F0DA46}" srcOrd="0" destOrd="0" presId="urn:microsoft.com/office/officeart/2005/8/layout/chevron2"/>
    <dgm:cxn modelId="{B2147137-CD97-4CD1-BA07-BEB079537025}" type="presParOf" srcId="{94B4BB17-B0CA-434D-A2A9-7DAAB9F0DA46}" destId="{EA5BBF29-BE6B-4896-BED3-B8F82301B536}" srcOrd="0" destOrd="0" presId="urn:microsoft.com/office/officeart/2005/8/layout/chevron2"/>
    <dgm:cxn modelId="{CF733B00-B58F-491B-B4BA-80EAB87CBEDB}" type="presParOf" srcId="{94B4BB17-B0CA-434D-A2A9-7DAAB9F0DA46}" destId="{673CBA4C-F731-48A3-B5C4-C0F7914706F6}" srcOrd="1" destOrd="0" presId="urn:microsoft.com/office/officeart/2005/8/layout/chevron2"/>
    <dgm:cxn modelId="{C917F15C-EDE1-4669-A324-67979CA9FFB0}" type="presParOf" srcId="{F36D6F93-38DF-4317-B8A2-A4EBF384F01E}" destId="{EA3B4972-00CB-4609-8571-A4E05A008946}" srcOrd="1" destOrd="0" presId="urn:microsoft.com/office/officeart/2005/8/layout/chevron2"/>
    <dgm:cxn modelId="{CC274363-9121-40FC-86F2-A9118C0253BB}" type="presParOf" srcId="{F36D6F93-38DF-4317-B8A2-A4EBF384F01E}" destId="{9241C8A2-05B7-49AD-8039-FAF4CC227EF2}" srcOrd="2" destOrd="0" presId="urn:microsoft.com/office/officeart/2005/8/layout/chevron2"/>
    <dgm:cxn modelId="{B19405CA-6319-4892-9933-EC81913093F9}" type="presParOf" srcId="{9241C8A2-05B7-49AD-8039-FAF4CC227EF2}" destId="{80A26C9F-073C-44DA-980C-27F042628783}" srcOrd="0" destOrd="0" presId="urn:microsoft.com/office/officeart/2005/8/layout/chevron2"/>
    <dgm:cxn modelId="{667C3BA0-1467-4DA6-AE19-45732DA7A0D8}" type="presParOf" srcId="{9241C8A2-05B7-49AD-8039-FAF4CC227EF2}" destId="{D06E72B8-13AF-4582-859B-DD063865DA00}" srcOrd="1" destOrd="0" presId="urn:microsoft.com/office/officeart/2005/8/layout/chevron2"/>
    <dgm:cxn modelId="{21A7A460-51A8-410F-B6D3-B720FBD573EB}" type="presParOf" srcId="{F36D6F93-38DF-4317-B8A2-A4EBF384F01E}" destId="{E7CB2695-92CE-4118-AC69-330DFDB9AA68}" srcOrd="3" destOrd="0" presId="urn:microsoft.com/office/officeart/2005/8/layout/chevron2"/>
    <dgm:cxn modelId="{3A9035D1-6FD2-4E11-B17A-A2005CEFE3BF}" type="presParOf" srcId="{F36D6F93-38DF-4317-B8A2-A4EBF384F01E}" destId="{2A612E5A-1733-4E92-9996-F1B76BAEB669}" srcOrd="4" destOrd="0" presId="urn:microsoft.com/office/officeart/2005/8/layout/chevron2"/>
    <dgm:cxn modelId="{57D8BA3C-A069-442F-A420-AB0250AC8AE5}" type="presParOf" srcId="{2A612E5A-1733-4E92-9996-F1B76BAEB669}" destId="{00AA5DBD-D766-4FF2-8F28-F7F82750F2C3}" srcOrd="0" destOrd="0" presId="urn:microsoft.com/office/officeart/2005/8/layout/chevron2"/>
    <dgm:cxn modelId="{A9EE9444-D7C0-4E3B-A634-8C06643596EF}" type="presParOf" srcId="{2A612E5A-1733-4E92-9996-F1B76BAEB669}" destId="{A4C908E9-8E57-4BEE-9345-25DFF4213E43}" srcOrd="1" destOrd="0" presId="urn:microsoft.com/office/officeart/2005/8/layout/chevron2"/>
    <dgm:cxn modelId="{E10A50E6-D067-462A-BD22-483F19F1F3D3}" type="presParOf" srcId="{F36D6F93-38DF-4317-B8A2-A4EBF384F01E}" destId="{36B6B1AE-40D2-44A7-91D0-C3DDB1718112}" srcOrd="5" destOrd="0" presId="urn:microsoft.com/office/officeart/2005/8/layout/chevron2"/>
    <dgm:cxn modelId="{79E55EA1-B360-4571-857F-F900362B251C}" type="presParOf" srcId="{F36D6F93-38DF-4317-B8A2-A4EBF384F01E}" destId="{AD004081-B49F-4E38-BFD2-35EFA2B3B0DD}" srcOrd="6" destOrd="0" presId="urn:microsoft.com/office/officeart/2005/8/layout/chevron2"/>
    <dgm:cxn modelId="{019D87E3-DE21-434E-A7D5-77D205A9D6E6}" type="presParOf" srcId="{AD004081-B49F-4E38-BFD2-35EFA2B3B0DD}" destId="{9C21C9C4-79D0-487D-AA38-0B7A38DAB5F6}" srcOrd="0" destOrd="0" presId="urn:microsoft.com/office/officeart/2005/8/layout/chevron2"/>
    <dgm:cxn modelId="{D3A7E5E7-B920-4CEA-83D7-F27F6018D78B}" type="presParOf" srcId="{AD004081-B49F-4E38-BFD2-35EFA2B3B0DD}" destId="{5170E828-CB3B-4238-8198-66EFB3C6B7C0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5BBF29-BE6B-4896-BED3-B8F82301B536}">
      <dsp:nvSpPr>
        <dsp:cNvPr id="0" name=""/>
        <dsp:cNvSpPr/>
      </dsp:nvSpPr>
      <dsp:spPr>
        <a:xfrm rot="5400000">
          <a:off x="-202062" y="202936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Your Role</a:t>
          </a:r>
          <a:endParaRPr lang="en-US" sz="1600" kern="1200" dirty="0"/>
        </a:p>
      </dsp:txBody>
      <dsp:txXfrm rot="-5400000">
        <a:off x="0" y="472352"/>
        <a:ext cx="942956" cy="404124"/>
      </dsp:txXfrm>
    </dsp:sp>
    <dsp:sp modelId="{673CBA4C-F731-48A3-B5C4-C0F7914706F6}">
      <dsp:nvSpPr>
        <dsp:cNvPr id="0" name=""/>
        <dsp:cNvSpPr/>
      </dsp:nvSpPr>
      <dsp:spPr>
        <a:xfrm rot="5400000">
          <a:off x="4186577" y="-3242746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Teacher/mentor</a:t>
          </a:r>
          <a:endParaRPr lang="en-US" sz="2400" kern="1200" dirty="0">
            <a:latin typeface="Gill Sans MT" panose="020B0502020104020203" pitchFamily="34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Empower your audience to take action</a:t>
          </a:r>
          <a:endParaRPr lang="en-US" sz="2400" kern="1200" dirty="0">
            <a:latin typeface="Gill Sans MT" panose="020B0502020104020203" pitchFamily="34" charset="0"/>
          </a:endParaRPr>
        </a:p>
      </dsp:txBody>
      <dsp:txXfrm rot="-5400000">
        <a:off x="942957" y="43617"/>
        <a:ext cx="7320100" cy="790116"/>
      </dsp:txXfrm>
    </dsp:sp>
    <dsp:sp modelId="{80A26C9F-073C-44DA-980C-27F042628783}">
      <dsp:nvSpPr>
        <dsp:cNvPr id="0" name=""/>
        <dsp:cNvSpPr/>
      </dsp:nvSpPr>
      <dsp:spPr>
        <a:xfrm rot="5400000">
          <a:off x="-202062" y="1404326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udience</a:t>
          </a:r>
          <a:endParaRPr lang="en-US" sz="1600" kern="1200" dirty="0"/>
        </a:p>
      </dsp:txBody>
      <dsp:txXfrm rot="-5400000">
        <a:off x="0" y="1673742"/>
        <a:ext cx="942956" cy="404124"/>
      </dsp:txXfrm>
    </dsp:sp>
    <dsp:sp modelId="{D06E72B8-13AF-4582-859B-DD063865DA00}">
      <dsp:nvSpPr>
        <dsp:cNvPr id="0" name=""/>
        <dsp:cNvSpPr/>
      </dsp:nvSpPr>
      <dsp:spPr>
        <a:xfrm rot="5400000">
          <a:off x="4186577" y="-2041356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Who are they?</a:t>
          </a:r>
          <a:endParaRPr lang="en-US" sz="2400" kern="1200" dirty="0">
            <a:latin typeface="Gill Sans MT" panose="020B0502020104020203" pitchFamily="34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7 Questions to ask</a:t>
          </a:r>
          <a:endParaRPr lang="en-US" sz="2400" kern="1200" dirty="0">
            <a:latin typeface="Gill Sans MT" panose="020B0502020104020203" pitchFamily="34" charset="0"/>
          </a:endParaRPr>
        </a:p>
      </dsp:txBody>
      <dsp:txXfrm rot="-5400000">
        <a:off x="942957" y="1245007"/>
        <a:ext cx="7320100" cy="790116"/>
      </dsp:txXfrm>
    </dsp:sp>
    <dsp:sp modelId="{00AA5DBD-D766-4FF2-8F28-F7F82750F2C3}">
      <dsp:nvSpPr>
        <dsp:cNvPr id="0" name=""/>
        <dsp:cNvSpPr/>
      </dsp:nvSpPr>
      <dsp:spPr>
        <a:xfrm rot="5400000">
          <a:off x="-202062" y="2605716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ig Idea</a:t>
          </a:r>
          <a:endParaRPr lang="en-US" sz="1600" kern="1200" dirty="0"/>
        </a:p>
      </dsp:txBody>
      <dsp:txXfrm rot="-5400000">
        <a:off x="0" y="2875132"/>
        <a:ext cx="942956" cy="404124"/>
      </dsp:txXfrm>
    </dsp:sp>
    <dsp:sp modelId="{A4C908E9-8E57-4BEE-9345-25DFF4213E43}">
      <dsp:nvSpPr>
        <dsp:cNvPr id="0" name=""/>
        <dsp:cNvSpPr/>
      </dsp:nvSpPr>
      <dsp:spPr>
        <a:xfrm rot="5400000">
          <a:off x="4186577" y="-839965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Point of view</a:t>
          </a:r>
          <a:endParaRPr lang="en-US" sz="2400" kern="1200" dirty="0">
            <a:latin typeface="Gill Sans MT" panose="020B0502020104020203" pitchFamily="34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What’s at stake?</a:t>
          </a:r>
          <a:endParaRPr lang="en-US" sz="2400" kern="1200" dirty="0">
            <a:latin typeface="Gill Sans MT" panose="020B0502020104020203" pitchFamily="34" charset="0"/>
          </a:endParaRPr>
        </a:p>
      </dsp:txBody>
      <dsp:txXfrm rot="-5400000">
        <a:off x="942957" y="2446398"/>
        <a:ext cx="7320100" cy="790116"/>
      </dsp:txXfrm>
    </dsp:sp>
    <dsp:sp modelId="{9C21C9C4-79D0-487D-AA38-0B7A38DAB5F6}">
      <dsp:nvSpPr>
        <dsp:cNvPr id="0" name=""/>
        <dsp:cNvSpPr/>
      </dsp:nvSpPr>
      <dsp:spPr>
        <a:xfrm rot="5400000">
          <a:off x="-202062" y="3807107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tory</a:t>
          </a:r>
          <a:endParaRPr lang="en-US" sz="1600" kern="1200" dirty="0"/>
        </a:p>
      </dsp:txBody>
      <dsp:txXfrm rot="-5400000">
        <a:off x="0" y="4076523"/>
        <a:ext cx="942956" cy="404124"/>
      </dsp:txXfrm>
    </dsp:sp>
    <dsp:sp modelId="{5170E828-CB3B-4238-8198-66EFB3C6B7C0}">
      <dsp:nvSpPr>
        <dsp:cNvPr id="0" name=""/>
        <dsp:cNvSpPr/>
      </dsp:nvSpPr>
      <dsp:spPr>
        <a:xfrm rot="5400000">
          <a:off x="4186577" y="361424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Beginning, middle and end</a:t>
          </a:r>
          <a:endParaRPr lang="en-US" sz="2400" kern="1200" dirty="0">
            <a:latin typeface="Gill Sans MT" panose="020B0502020104020203" pitchFamily="34" charset="0"/>
          </a:endParaRPr>
        </a:p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400" kern="1200" dirty="0" smtClean="0">
              <a:latin typeface="Gill Sans MT" panose="020B0502020104020203" pitchFamily="34" charset="0"/>
            </a:rPr>
            <a:t>Make it memorable</a:t>
          </a:r>
          <a:endParaRPr lang="en-US" sz="2400" kern="1200" dirty="0">
            <a:latin typeface="Gill Sans MT" panose="020B0502020104020203" pitchFamily="34" charset="0"/>
          </a:endParaRPr>
        </a:p>
      </dsp:txBody>
      <dsp:txXfrm rot="-5400000">
        <a:off x="942957" y="3647788"/>
        <a:ext cx="7320100" cy="79011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5BBF29-BE6B-4896-BED3-B8F82301B536}">
      <dsp:nvSpPr>
        <dsp:cNvPr id="0" name=""/>
        <dsp:cNvSpPr/>
      </dsp:nvSpPr>
      <dsp:spPr>
        <a:xfrm rot="5400000">
          <a:off x="-202062" y="202936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Your Role</a:t>
          </a:r>
          <a:endParaRPr lang="en-US" sz="1600" kern="1200" dirty="0"/>
        </a:p>
      </dsp:txBody>
      <dsp:txXfrm rot="-5400000">
        <a:off x="0" y="472352"/>
        <a:ext cx="942956" cy="404124"/>
      </dsp:txXfrm>
    </dsp:sp>
    <dsp:sp modelId="{673CBA4C-F731-48A3-B5C4-C0F7914706F6}">
      <dsp:nvSpPr>
        <dsp:cNvPr id="0" name=""/>
        <dsp:cNvSpPr/>
      </dsp:nvSpPr>
      <dsp:spPr>
        <a:xfrm rot="5400000">
          <a:off x="4186577" y="-3242746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Teacher/mentor</a:t>
          </a:r>
          <a:endParaRPr lang="en-US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Empower your audience to take action</a:t>
          </a:r>
          <a:endParaRPr lang="en-US" sz="2600" kern="1200" dirty="0"/>
        </a:p>
      </dsp:txBody>
      <dsp:txXfrm rot="-5400000">
        <a:off x="942957" y="43617"/>
        <a:ext cx="7320100" cy="790116"/>
      </dsp:txXfrm>
    </dsp:sp>
    <dsp:sp modelId="{80A26C9F-073C-44DA-980C-27F042628783}">
      <dsp:nvSpPr>
        <dsp:cNvPr id="0" name=""/>
        <dsp:cNvSpPr/>
      </dsp:nvSpPr>
      <dsp:spPr>
        <a:xfrm rot="5400000">
          <a:off x="-202062" y="1404326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Audience</a:t>
          </a:r>
          <a:endParaRPr lang="en-US" sz="1600" kern="1200" dirty="0"/>
        </a:p>
      </dsp:txBody>
      <dsp:txXfrm rot="-5400000">
        <a:off x="0" y="1673742"/>
        <a:ext cx="942956" cy="404124"/>
      </dsp:txXfrm>
    </dsp:sp>
    <dsp:sp modelId="{D06E72B8-13AF-4582-859B-DD063865DA00}">
      <dsp:nvSpPr>
        <dsp:cNvPr id="0" name=""/>
        <dsp:cNvSpPr/>
      </dsp:nvSpPr>
      <dsp:spPr>
        <a:xfrm rot="5400000">
          <a:off x="4186577" y="-2041356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Who are they?</a:t>
          </a:r>
          <a:endParaRPr lang="en-US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7 Questions to ask</a:t>
          </a:r>
          <a:endParaRPr lang="en-US" sz="2600" kern="1200" dirty="0"/>
        </a:p>
      </dsp:txBody>
      <dsp:txXfrm rot="-5400000">
        <a:off x="942957" y="1245007"/>
        <a:ext cx="7320100" cy="790116"/>
      </dsp:txXfrm>
    </dsp:sp>
    <dsp:sp modelId="{00AA5DBD-D766-4FF2-8F28-F7F82750F2C3}">
      <dsp:nvSpPr>
        <dsp:cNvPr id="0" name=""/>
        <dsp:cNvSpPr/>
      </dsp:nvSpPr>
      <dsp:spPr>
        <a:xfrm rot="5400000">
          <a:off x="-202062" y="2605716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Big Idea</a:t>
          </a:r>
          <a:endParaRPr lang="en-US" sz="1600" kern="1200" dirty="0"/>
        </a:p>
      </dsp:txBody>
      <dsp:txXfrm rot="-5400000">
        <a:off x="0" y="2875132"/>
        <a:ext cx="942956" cy="404124"/>
      </dsp:txXfrm>
    </dsp:sp>
    <dsp:sp modelId="{A4C908E9-8E57-4BEE-9345-25DFF4213E43}">
      <dsp:nvSpPr>
        <dsp:cNvPr id="0" name=""/>
        <dsp:cNvSpPr/>
      </dsp:nvSpPr>
      <dsp:spPr>
        <a:xfrm rot="5400000">
          <a:off x="4186577" y="-839965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Point of view</a:t>
          </a:r>
          <a:endParaRPr lang="en-US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What’s at stake?</a:t>
          </a:r>
          <a:endParaRPr lang="en-US" sz="2600" kern="1200" dirty="0"/>
        </a:p>
      </dsp:txBody>
      <dsp:txXfrm rot="-5400000">
        <a:off x="942957" y="2446398"/>
        <a:ext cx="7320100" cy="790116"/>
      </dsp:txXfrm>
    </dsp:sp>
    <dsp:sp modelId="{9C21C9C4-79D0-487D-AA38-0B7A38DAB5F6}">
      <dsp:nvSpPr>
        <dsp:cNvPr id="0" name=""/>
        <dsp:cNvSpPr/>
      </dsp:nvSpPr>
      <dsp:spPr>
        <a:xfrm rot="5400000">
          <a:off x="-202062" y="3807107"/>
          <a:ext cx="1347080" cy="94295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 dirty="0" smtClean="0"/>
            <a:t>Story</a:t>
          </a:r>
          <a:endParaRPr lang="en-US" sz="1600" kern="1200" dirty="0"/>
        </a:p>
      </dsp:txBody>
      <dsp:txXfrm rot="-5400000">
        <a:off x="0" y="4076523"/>
        <a:ext cx="942956" cy="404124"/>
      </dsp:txXfrm>
    </dsp:sp>
    <dsp:sp modelId="{5170E828-CB3B-4238-8198-66EFB3C6B7C0}">
      <dsp:nvSpPr>
        <dsp:cNvPr id="0" name=""/>
        <dsp:cNvSpPr/>
      </dsp:nvSpPr>
      <dsp:spPr>
        <a:xfrm rot="5400000">
          <a:off x="4186577" y="361424"/>
          <a:ext cx="875602" cy="7362843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64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4912" tIns="16510" rIns="16510" bIns="16510" numCol="1" spcCol="1270" anchor="ctr" anchorCtr="0">
          <a:noAutofit/>
        </a:bodyPr>
        <a:lstStyle/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Beginning, middle and end</a:t>
          </a:r>
          <a:endParaRPr lang="en-US" sz="2600" kern="1200" dirty="0"/>
        </a:p>
        <a:p>
          <a:pPr marL="228600" lvl="1" indent="-228600" algn="l" defTabSz="11557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600" kern="1200" dirty="0" smtClean="0"/>
            <a:t>Make it memorable</a:t>
          </a:r>
          <a:endParaRPr lang="en-US" sz="2600" kern="1200" dirty="0"/>
        </a:p>
      </dsp:txBody>
      <dsp:txXfrm rot="-5400000">
        <a:off x="942957" y="3647788"/>
        <a:ext cx="7320100" cy="7901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864343-33AD-4B2C-9111-771D9D38C20D}" type="datetimeFigureOut">
              <a:rPr lang="en-US" smtClean="0"/>
              <a:t>2/1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B4BB5D-5D2C-43F4-815B-7A4C511473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420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9E913-CC76-46C8-9385-8BE0B138482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42955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9E913-CC76-46C8-9385-8BE0B1384821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1883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9E913-CC76-46C8-9385-8BE0B1384821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3267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9E913-CC76-46C8-9385-8BE0B1384821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0044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9E913-CC76-46C8-9385-8BE0B138482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405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B9E913-CC76-46C8-9385-8BE0B138482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4235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371600"/>
            <a:ext cx="7848600" cy="1927225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505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3398520"/>
            <a:ext cx="7848600" cy="1588"/>
          </a:xfrm>
          <a:prstGeom prst="line">
            <a:avLst/>
          </a:prstGeom>
          <a:ln w="1905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rgbClr val="0020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Gill Sans MT" panose="020B0502020104020203" pitchFamily="34" charset="0"/>
              </a:defRPr>
            </a:lvl1pPr>
            <a:lvl2pPr>
              <a:defRPr>
                <a:latin typeface="Gill Sans MT" panose="020B0502020104020203" pitchFamily="34" charset="0"/>
              </a:defRPr>
            </a:lvl2pPr>
            <a:lvl3pPr>
              <a:defRPr>
                <a:latin typeface="Gill Sans MT" panose="020B0502020104020203" pitchFamily="34" charset="0"/>
              </a:defRPr>
            </a:lvl3pPr>
            <a:lvl4pPr>
              <a:defRPr>
                <a:latin typeface="Gill Sans MT" panose="020B0502020104020203" pitchFamily="34" charset="0"/>
              </a:defRPr>
            </a:lvl4pPr>
            <a:lvl5pPr>
              <a:defRPr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0947A9-521A-4AFE-8C3B-59BE50CEA4DD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6643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57200" y="1371600"/>
            <a:ext cx="8229600" cy="685800"/>
          </a:xfrm>
        </p:spPr>
        <p:txBody>
          <a:bodyPr>
            <a:normAutofit/>
          </a:bodyPr>
          <a:lstStyle>
            <a:lvl1pPr marL="0" indent="0" algn="l">
              <a:buNone/>
              <a:defRPr sz="1800" i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0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11"/>
          <p:cNvSpPr>
            <a:spLocks noGrp="1"/>
          </p:cNvSpPr>
          <p:nvPr>
            <p:ph idx="1"/>
          </p:nvPr>
        </p:nvSpPr>
        <p:spPr>
          <a:xfrm>
            <a:off x="457200" y="1219200"/>
            <a:ext cx="8229600" cy="4906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2pPr>
              <a:defRPr>
                <a:latin typeface="Gill Sans MT" panose="020B0502020104020203" pitchFamily="34" charset="0"/>
              </a:defRPr>
            </a:lvl2pPr>
            <a:lvl3pPr>
              <a:defRPr>
                <a:latin typeface="Gill Sans MT" panose="020B0502020104020203" pitchFamily="34" charset="0"/>
              </a:defRPr>
            </a:lvl3pPr>
            <a:lvl4pPr>
              <a:defRPr>
                <a:latin typeface="Gill Sans MT" panose="020B0502020104020203" pitchFamily="34" charset="0"/>
              </a:defRPr>
            </a:lvl4pPr>
            <a:lvl5pPr>
              <a:defRPr>
                <a:latin typeface="Gill Sans MT" panose="020B0502020104020203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05072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077200" y="6477000"/>
            <a:ext cx="1066800" cy="329184"/>
          </a:xfrm>
        </p:spPr>
        <p:txBody>
          <a:bodyPr/>
          <a:lstStyle>
            <a:lvl1pPr algn="ctr"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498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0"/>
          </p:nvPr>
        </p:nvSpPr>
        <p:spPr>
          <a:xfrm>
            <a:off x="2895600" y="6477002"/>
            <a:ext cx="3352800" cy="244475"/>
          </a:xfrm>
          <a:prstGeom prst="rect">
            <a:avLst/>
          </a:prstGeom>
        </p:spPr>
        <p:txBody>
          <a:bodyPr/>
          <a:lstStyle/>
          <a:p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3 © Mekko Graphics. All rights reserved.</a:t>
            </a:r>
          </a:p>
          <a:p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253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220786"/>
            <a:ext cx="9144000" cy="2286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876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924800" y="6400800"/>
            <a:ext cx="1066800" cy="32918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80947A9-521A-4AFE-8C3B-59BE50CEA4D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122" name="Picture 2" descr="Displaying mekko-graphics-logo2.png"/>
          <p:cNvPicPr>
            <a:picLocks noChangeAspect="1" noChangeArrowheads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692" y="-152400"/>
            <a:ext cx="1860908" cy="85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681" r:id="rId16"/>
    <p:sldLayoutId id="2147483682" r:id="rId17"/>
    <p:sldLayoutId id="2147483683" r:id="rId18"/>
    <p:sldLayoutId id="2147483684" r:id="rId19"/>
    <p:sldLayoutId id="2147483685" r:id="rId20"/>
    <p:sldLayoutId id="2147483686" r:id="rId21"/>
    <p:sldLayoutId id="2147483687" r:id="rId2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4000" kern="1200" spc="-100" baseline="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rgbClr val="2B303D"/>
        </a:buClr>
        <a:buSzPct val="85000"/>
        <a:buFont typeface="Arial" pitchFamily="34" charset="0"/>
        <a:buChar char="•"/>
        <a:defRPr sz="24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rgbClr val="87A634"/>
        </a:buClr>
        <a:buSzPct val="85000"/>
        <a:buFont typeface="Arial" pitchFamily="34" charset="0"/>
        <a:buChar char="•"/>
        <a:defRPr sz="20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2pPr>
      <a:lvl3pPr marL="891540" indent="-342900" algn="l" defTabSz="914400" rtl="0" eaLnBrk="1" latinLnBrk="0" hangingPunct="1">
        <a:spcBef>
          <a:spcPct val="20000"/>
        </a:spcBef>
        <a:buClr>
          <a:srgbClr val="E88E4A"/>
        </a:buClr>
        <a:buSzPct val="90000"/>
        <a:buFont typeface="Arial" panose="020B0604020202020204" pitchFamily="34" charset="0"/>
        <a:buChar char="•"/>
        <a:defRPr sz="18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rgbClr val="00B0F0"/>
        </a:buClr>
        <a:buSzPct val="100000"/>
        <a:buFont typeface="Arial" pitchFamily="34" charset="0"/>
        <a:buChar char="•"/>
        <a:defRPr sz="1400" kern="1200" baseline="0">
          <a:solidFill>
            <a:schemeClr val="accent5">
              <a:lumMod val="50000"/>
            </a:schemeClr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.xml"/><Relationship Id="rId4" Type="http://schemas.openxmlformats.org/officeDocument/2006/relationships/image" Target="../media/image8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6.xml"/><Relationship Id="rId4" Type="http://schemas.openxmlformats.org/officeDocument/2006/relationships/image" Target="../media/image9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7.xml"/><Relationship Id="rId4" Type="http://schemas.openxmlformats.org/officeDocument/2006/relationships/image" Target="../media/image1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8.xml"/><Relationship Id="rId4" Type="http://schemas.openxmlformats.org/officeDocument/2006/relationships/image" Target="../media/image1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9.xml"/><Relationship Id="rId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2.xml"/><Relationship Id="rId1" Type="http://schemas.openxmlformats.org/officeDocument/2006/relationships/tags" Target="../tags/tag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hyperlink" Target="http://www.mekkographics.com/mastering-chart-selection/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twitter.com/mekkographics" TargetMode="External"/><Relationship Id="rId4" Type="http://schemas.openxmlformats.org/officeDocument/2006/relationships/hyperlink" Target="https://www.facebook.com/Mekko-Graphics-1602319873366228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flevy.com/powerpoint-toolkit.php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Building a Strategy presentation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subTitle" idx="1"/>
          </p:nvPr>
        </p:nvSpPr>
        <p:spPr>
          <a:xfrm>
            <a:off x="5562600" y="3581400"/>
            <a:ext cx="3200400" cy="1752600"/>
          </a:xfrm>
        </p:spPr>
        <p:txBody>
          <a:bodyPr>
            <a:normAutofit/>
          </a:bodyPr>
          <a:lstStyle/>
          <a:p>
            <a:r>
              <a:rPr lang="en-US" sz="1800" dirty="0" smtClean="0"/>
              <a:t>David Goldstein</a:t>
            </a:r>
          </a:p>
          <a:p>
            <a:r>
              <a:rPr lang="en-US" sz="1800" dirty="0" smtClean="0"/>
              <a:t>President, </a:t>
            </a:r>
            <a:r>
              <a:rPr lang="en-US" sz="1800" dirty="0" err="1" smtClean="0"/>
              <a:t>Mekko</a:t>
            </a:r>
            <a:r>
              <a:rPr lang="en-US" sz="1800" dirty="0" smtClean="0"/>
              <a:t> Graphics</a:t>
            </a:r>
          </a:p>
          <a:p>
            <a:r>
              <a:rPr lang="en-US" sz="1800" dirty="0" smtClean="0"/>
              <a:t>david@mekkographics.com</a:t>
            </a:r>
          </a:p>
        </p:txBody>
      </p:sp>
    </p:spTree>
    <p:extLst>
      <p:ext uri="{BB962C8B-B14F-4D97-AF65-F5344CB8AC3E}">
        <p14:creationId xmlns:p14="http://schemas.microsoft.com/office/powerpoint/2010/main" val="40040636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agram Options--Flow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0" y="1524000"/>
            <a:ext cx="6107540" cy="4724400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6618890" y="1905000"/>
            <a:ext cx="2438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Time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Value chai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Process flows</a:t>
            </a:r>
            <a:endParaRPr lang="en-US" sz="2400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6731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agram Options--Hierarchie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705600" y="1676400"/>
            <a:ext cx="24384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Organization struc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Pyramid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4801" y="1684283"/>
            <a:ext cx="6228613" cy="4487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202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agram Options--Table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>
            <a:off x="6553200" y="1675764"/>
            <a:ext cx="2438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Comparis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Gill Sans MT" panose="020B0502020104020203" pitchFamily="34" charset="0"/>
              </a:rPr>
              <a:t>Summarize/ replace word wall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448" y="1699412"/>
            <a:ext cx="5995447" cy="447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0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ich Chart to Us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13</a:t>
            </a:fld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3087428819"/>
              </p:ext>
            </p:extLst>
          </p:nvPr>
        </p:nvGraphicFramePr>
        <p:xfrm>
          <a:off x="381000" y="1524000"/>
          <a:ext cx="8305800" cy="439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200"/>
                <a:gridCol w="4191000"/>
                <a:gridCol w="21336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Objective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Example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hart Type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ategorize one measure and dimension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Revenue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by business unit or by product line</a:t>
                      </a:r>
                      <a:endParaRPr lang="en-US" sz="1800" dirty="0" smtClean="0">
                        <a:latin typeface="Gill Sans MT" panose="020B0502020104020203" pitchFamily="34" charset="0"/>
                      </a:endParaRPr>
                    </a:p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osts by business unit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or by </a:t>
                      </a:r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plant</a:t>
                      </a:r>
                    </a:p>
                    <a:p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100%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stacked bar (1 bar)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Track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t</a:t>
                      </a:r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rends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Revenue by year for by business uni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osts by year by business un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Stacked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bar or 100% stacked bar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ategorize one measure along 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2/3 dimensions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Revenue by product line and region</a:t>
                      </a:r>
                    </a:p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Price versus product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performance and reven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err="1" smtClean="0">
                          <a:latin typeface="Gill Sans MT" panose="020B0502020104020203" pitchFamily="34" charset="0"/>
                        </a:rPr>
                        <a:t>Marimekko</a:t>
                      </a:r>
                      <a:endParaRPr lang="en-US" sz="1800" dirty="0" smtClean="0">
                        <a:latin typeface="Gill Sans MT" panose="020B0502020104020203" pitchFamily="34" charset="0"/>
                      </a:endParaRPr>
                    </a:p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Bubble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ategorize one dimension along two measures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Gill Sans MT" panose="020B0502020104020203" pitchFamily="34" charset="0"/>
                        </a:rPr>
                        <a:t>Market size versus market growth by product</a:t>
                      </a:r>
                    </a:p>
                    <a:p>
                      <a:endParaRPr lang="en-US" sz="1800" baseline="0" dirty="0" smtClean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Bar</a:t>
                      </a:r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 </a:t>
                      </a:r>
                      <a:r>
                        <a:rPr lang="en-US" sz="1800" baseline="0" dirty="0" err="1" smtClean="0">
                          <a:latin typeface="Gill Sans MT" panose="020B0502020104020203" pitchFamily="34" charset="0"/>
                        </a:rPr>
                        <a:t>M</a:t>
                      </a:r>
                      <a:r>
                        <a:rPr lang="en-US" sz="1800" dirty="0" err="1" smtClean="0">
                          <a:latin typeface="Gill Sans MT" panose="020B0502020104020203" pitchFamily="34" charset="0"/>
                        </a:rPr>
                        <a:t>ekko</a:t>
                      </a:r>
                      <a:endParaRPr lang="en-US" sz="1800" dirty="0" smtClean="0">
                        <a:latin typeface="Gill Sans MT" panose="020B0502020104020203" pitchFamily="34" charset="0"/>
                      </a:endParaRPr>
                    </a:p>
                    <a:p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Track changes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aseline="0" dirty="0" smtClean="0">
                          <a:latin typeface="Gill Sans MT" panose="020B0502020104020203" pitchFamily="34" charset="0"/>
                        </a:rPr>
                        <a:t>Factors that affect change in prof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latin typeface="Gill Sans MT" panose="020B0502020104020203" pitchFamily="34" charset="0"/>
                        </a:rPr>
                        <a:t>Cascade</a:t>
                      </a:r>
                      <a:endParaRPr lang="en-US" sz="1800" dirty="0">
                        <a:latin typeface="Gill Sans MT" panose="020B0502020104020203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309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ategorize Along One Dimension Using 100% Stacked Ba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722437"/>
            <a:ext cx="8229600" cy="452596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209800" y="5833646"/>
            <a:ext cx="5410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Gill Sans MT" panose="020B0502020104020203" pitchFamily="34" charset="0"/>
              </a:rPr>
              <a:t>Extra credit: Add a 2</a:t>
            </a:r>
            <a:r>
              <a:rPr lang="en-US" sz="1600" i="1" baseline="30000" dirty="0" smtClean="0">
                <a:latin typeface="Gill Sans MT" panose="020B0502020104020203" pitchFamily="34" charset="0"/>
              </a:rPr>
              <a:t>nd</a:t>
            </a:r>
            <a:r>
              <a:rPr lang="en-US" sz="1600" i="1" dirty="0" smtClean="0">
                <a:latin typeface="Gill Sans MT" panose="020B0502020104020203" pitchFamily="34" charset="0"/>
              </a:rPr>
              <a:t> bar to ‘explode’ a key segment.</a:t>
            </a:r>
            <a:endParaRPr lang="en-US" sz="1600" i="1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5717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ck Trends with a Stacked Bar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447800" y="5909846"/>
            <a:ext cx="6781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Gill Sans MT" panose="020B0502020104020203" pitchFamily="34" charset="0"/>
              </a:rPr>
              <a:t>Extra credit: Add a growth arrow or a CAGR column to quantify growth trends</a:t>
            </a:r>
            <a:endParaRPr lang="en-US" sz="1600" i="1" dirty="0">
              <a:latin typeface="Gill Sans MT" panose="020B05020201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1447800"/>
            <a:ext cx="8232140" cy="490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691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ategorize along 2 Dimensions with a </a:t>
            </a:r>
            <a:r>
              <a:rPr lang="en-US" dirty="0" err="1" smtClean="0"/>
              <a:t>Marimekko</a:t>
            </a:r>
            <a:r>
              <a:rPr lang="en-US" dirty="0" smtClean="0"/>
              <a:t> Chart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61450" y="6580844"/>
            <a:ext cx="2133600" cy="244475"/>
          </a:xfr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16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600200" y="5909846"/>
            <a:ext cx="5943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Gill Sans MT" panose="020B0502020104020203" pitchFamily="34" charset="0"/>
              </a:rPr>
              <a:t>Extra credit: Group smaller segments into ‘Other’ series to reduce clutter</a:t>
            </a:r>
            <a:endParaRPr lang="en-US" sz="1600" i="1" dirty="0">
              <a:latin typeface="Gill Sans MT" panose="020B0502020104020203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860" y="1524000"/>
            <a:ext cx="8232140" cy="490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585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ategorize along 3 Dimensions with a Bubble Ch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61450" y="6580844"/>
            <a:ext cx="2133600" cy="244475"/>
          </a:xfr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17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219200" y="6031468"/>
            <a:ext cx="6773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Gill Sans MT" panose="020B0502020104020203" pitchFamily="34" charset="0"/>
              </a:rPr>
              <a:t>Extra credit: Change the size of the reference bubble to increase/reduce bubble sizes.</a:t>
            </a:r>
            <a:endParaRPr lang="en-US" sz="1600" i="1" dirty="0">
              <a:latin typeface="Gill Sans MT" panose="020B0502020104020203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000" y="1371600"/>
            <a:ext cx="8232140" cy="49095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952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Categorize Growth versus Size with</a:t>
            </a:r>
            <a:br>
              <a:rPr lang="en-US" dirty="0" smtClean="0"/>
            </a:br>
            <a:r>
              <a:rPr lang="en-US" dirty="0" smtClean="0"/>
              <a:t>a Bar </a:t>
            </a:r>
            <a:r>
              <a:rPr lang="en-US" dirty="0" err="1" smtClean="0"/>
              <a:t>Mekko</a:t>
            </a:r>
            <a:r>
              <a:rPr lang="en-US" dirty="0" smtClean="0"/>
              <a:t> Ch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61450" y="6580844"/>
            <a:ext cx="2133600" cy="244475"/>
          </a:xfr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18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852816" y="6031468"/>
            <a:ext cx="5614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Gill Sans MT" panose="020B0502020104020203" pitchFamily="34" charset="0"/>
              </a:rPr>
              <a:t>Extra credit: Use average line to show above and below average growth</a:t>
            </a:r>
            <a:endParaRPr lang="en-US" sz="1600" i="1" dirty="0">
              <a:latin typeface="Gill Sans MT" panose="020B0502020104020203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1417637"/>
            <a:ext cx="8229600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050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how the Impact of Changes with a Cascade Chart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61450" y="6580844"/>
            <a:ext cx="2133600" cy="244475"/>
          </a:xfr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19</a:t>
            </a:fld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81216" y="6031468"/>
            <a:ext cx="822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Extra credit: Use axis break to focus attention on changes</a:t>
            </a:r>
            <a:endParaRPr lang="en-US" i="1" dirty="0"/>
          </a:p>
        </p:txBody>
      </p:sp>
      <p:pic>
        <p:nvPicPr>
          <p:cNvPr id="8" name="Picture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600200"/>
            <a:ext cx="8229600" cy="4525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68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 Steps to Building Your Present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2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7508851"/>
              </p:ext>
            </p:extLst>
          </p:nvPr>
        </p:nvGraphicFramePr>
        <p:xfrm>
          <a:off x="762000" y="2743200"/>
          <a:ext cx="6858000" cy="25603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33600"/>
                <a:gridCol w="2438400"/>
                <a:gridCol w="2286000"/>
              </a:tblGrid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What’s my rol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o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is the audienc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What’s the “Big Idea?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baseline="0" dirty="0" smtClean="0">
                        <a:latin typeface="Gill Sans MT" panose="020B0502020104020203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How do I structure my presentation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ich charts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and diagrams should I us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How can I maximize visual impact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 smtClean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at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pre-presentation preparation should I mak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How should I deliver the talk? handle Q&amp;A?</a:t>
                      </a:r>
                      <a:endParaRPr lang="en-US" dirty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KMATable5ValueChain1"/>
          <p:cNvSpPr/>
          <p:nvPr/>
        </p:nvSpPr>
        <p:spPr>
          <a:xfrm>
            <a:off x="762000" y="1625600"/>
            <a:ext cx="2438400" cy="965200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nceiving</a:t>
            </a:r>
            <a:b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(before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KMATable5ValueChain2"/>
          <p:cNvSpPr/>
          <p:nvPr/>
        </p:nvSpPr>
        <p:spPr>
          <a:xfrm>
            <a:off x="2794000" y="1625600"/>
            <a:ext cx="2463800" cy="965200"/>
          </a:xfrm>
          <a:prstGeom prst="chevron">
            <a:avLst>
              <a:gd name="adj" fmla="val 39452"/>
            </a:avLst>
          </a:prstGeom>
          <a:solidFill>
            <a:schemeClr val="accent1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Visualizing (with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KMATable5ValueChain3"/>
          <p:cNvSpPr/>
          <p:nvPr/>
        </p:nvSpPr>
        <p:spPr>
          <a:xfrm>
            <a:off x="4826000" y="1625600"/>
            <a:ext cx="3200400" cy="965200"/>
          </a:xfrm>
          <a:prstGeom prst="chevron">
            <a:avLst>
              <a:gd name="adj" fmla="val 39452"/>
            </a:avLst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Delivering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9" name="Left Brace 8"/>
          <p:cNvSpPr/>
          <p:nvPr/>
        </p:nvSpPr>
        <p:spPr>
          <a:xfrm rot="16200000">
            <a:off x="2705100" y="2857500"/>
            <a:ext cx="609600" cy="4495800"/>
          </a:xfrm>
          <a:prstGeom prst="leftBrac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838200" y="5562600"/>
            <a:ext cx="4419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>
                <a:latin typeface="Gill Sans MT" panose="020B0502020104020203" pitchFamily="34" charset="0"/>
              </a:rPr>
              <a:t>Focus of this presentation</a:t>
            </a:r>
            <a:endParaRPr lang="en-US" i="1" dirty="0">
              <a:latin typeface="Gill Sans MT" panose="020B05020201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734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 Steps to Creating Your Present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20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0792959"/>
              </p:ext>
            </p:extLst>
          </p:nvPr>
        </p:nvGraphicFramePr>
        <p:xfrm>
          <a:off x="762000" y="3098800"/>
          <a:ext cx="6858000" cy="28346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33600"/>
                <a:gridCol w="2438400"/>
                <a:gridCol w="2286000"/>
              </a:tblGrid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What’s my rol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o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is the audienc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What’s the “Big Idea?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baseline="0" dirty="0" smtClean="0">
                        <a:latin typeface="Gill Sans MT" panose="020B0502020104020203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How do I structure my presentation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ich charts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and diagrams should I us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How can I maximize visual impact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 smtClean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at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 pre-presentation preparation should I mak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How should I deliver the talk? handle Q&amp;A?</a:t>
                      </a:r>
                      <a:endParaRPr lang="en-US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KMATable5ValueChain1"/>
          <p:cNvSpPr/>
          <p:nvPr/>
        </p:nvSpPr>
        <p:spPr>
          <a:xfrm>
            <a:off x="762000" y="1752600"/>
            <a:ext cx="2438400" cy="965200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nceiving</a:t>
            </a:r>
            <a:b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(before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KMATable5ValueChain2"/>
          <p:cNvSpPr/>
          <p:nvPr/>
        </p:nvSpPr>
        <p:spPr>
          <a:xfrm>
            <a:off x="2794000" y="1752600"/>
            <a:ext cx="2463800" cy="965200"/>
          </a:xfrm>
          <a:prstGeom prst="chevron">
            <a:avLst>
              <a:gd name="adj" fmla="val 39452"/>
            </a:avLst>
          </a:prstGeom>
          <a:solidFill>
            <a:schemeClr val="accent1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Visualizing (with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KMATable5ValueChain3"/>
          <p:cNvSpPr/>
          <p:nvPr/>
        </p:nvSpPr>
        <p:spPr>
          <a:xfrm>
            <a:off x="4826000" y="1752600"/>
            <a:ext cx="3200400" cy="965200"/>
          </a:xfrm>
          <a:prstGeom prst="chevron">
            <a:avLst>
              <a:gd name="adj" fmla="val 39452"/>
            </a:avLst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Delivering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5598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470029"/>
            <a:ext cx="8229600" cy="990600"/>
          </a:xfrm>
        </p:spPr>
        <p:txBody>
          <a:bodyPr>
            <a:noAutofit/>
          </a:bodyPr>
          <a:lstStyle/>
          <a:p>
            <a:r>
              <a:rPr lang="en-US" dirty="0" smtClean="0"/>
              <a:t>Learn More</a:t>
            </a:r>
            <a:endParaRPr lang="en-US" dirty="0"/>
          </a:p>
        </p:txBody>
      </p:sp>
      <p:pic>
        <p:nvPicPr>
          <p:cNvPr id="5" name="Content Placeholder 4">
            <a:hlinkClick r:id="rId2"/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2819400"/>
            <a:ext cx="4343400" cy="3257550"/>
          </a:xfrm>
          <a:ln>
            <a:solidFill>
              <a:schemeClr val="accent1"/>
            </a:solidFill>
          </a:ln>
        </p:spPr>
      </p:pic>
      <p:sp>
        <p:nvSpPr>
          <p:cNvPr id="6" name="TextBox 5"/>
          <p:cNvSpPr txBox="1"/>
          <p:nvPr/>
        </p:nvSpPr>
        <p:spPr>
          <a:xfrm>
            <a:off x="457200" y="1515070"/>
            <a:ext cx="8305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o learn more about creating persuasive charts, download the free</a:t>
            </a:r>
          </a:p>
          <a:p>
            <a:r>
              <a:rPr lang="en-US" dirty="0" smtClean="0">
                <a:hlinkClick r:id="rId2"/>
              </a:rPr>
              <a:t>Mastering Chart Selection Guide</a:t>
            </a:r>
            <a:r>
              <a:rPr lang="en-US" dirty="0" smtClean="0"/>
              <a:t>, which includes a 30-day trial of the </a:t>
            </a:r>
            <a:r>
              <a:rPr lang="en-US" dirty="0" err="1" smtClean="0"/>
              <a:t>Mekko</a:t>
            </a:r>
            <a:r>
              <a:rPr lang="en-US" dirty="0" smtClean="0"/>
              <a:t> Graphics software.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105400" y="2838450"/>
            <a:ext cx="3429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dirty="0" smtClean="0"/>
              <a:t>Questions or Comments?</a:t>
            </a:r>
          </a:p>
          <a:p>
            <a:pPr algn="r"/>
            <a:endParaRPr lang="en-US" dirty="0"/>
          </a:p>
          <a:p>
            <a:pPr algn="r"/>
            <a:r>
              <a:rPr lang="en-US" dirty="0" smtClean="0"/>
              <a:t>Join us on </a:t>
            </a:r>
            <a:r>
              <a:rPr lang="en-US" dirty="0" smtClean="0">
                <a:hlinkClick r:id="rId4"/>
              </a:rPr>
              <a:t>Facebook</a:t>
            </a:r>
            <a:r>
              <a:rPr lang="en-US" dirty="0" smtClean="0"/>
              <a:t> or </a:t>
            </a:r>
            <a:r>
              <a:rPr lang="en-US" dirty="0" smtClean="0">
                <a:hlinkClick r:id="rId5"/>
              </a:rPr>
              <a:t>Twitter</a:t>
            </a:r>
            <a:r>
              <a:rPr lang="en-US" dirty="0" smtClean="0"/>
              <a:t> and say hello!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07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 Steps to Building Your Presentation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032115"/>
              </p:ext>
            </p:extLst>
          </p:nvPr>
        </p:nvGraphicFramePr>
        <p:xfrm>
          <a:off x="762000" y="2895600"/>
          <a:ext cx="6858000" cy="28346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33600"/>
                <a:gridCol w="2438400"/>
                <a:gridCol w="2286000"/>
              </a:tblGrid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What’s my rol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o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is the audienc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What’s the “Big Idea?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baseline="0" dirty="0" smtClean="0">
                        <a:latin typeface="Gill Sans MT" panose="020B0502020104020203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How do I structure my presentation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ich charts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 and diagrams should I us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How can I maximize visual impact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at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 pre-presentation preparation should I mak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How should I deliver the talk? handle Q&amp;A?</a:t>
                      </a:r>
                      <a:endParaRPr lang="en-US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KMATable5ValueChain1"/>
          <p:cNvSpPr/>
          <p:nvPr/>
        </p:nvSpPr>
        <p:spPr>
          <a:xfrm>
            <a:off x="762000" y="1701800"/>
            <a:ext cx="2438400" cy="965200"/>
          </a:xfrm>
          <a:prstGeom prst="chevron">
            <a:avLst>
              <a:gd name="adj" fmla="val 0"/>
            </a:avLst>
          </a:prstGeom>
          <a:solidFill>
            <a:schemeClr val="accent1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nceiving</a:t>
            </a:r>
            <a:b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(before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KMATable5ValueChain2"/>
          <p:cNvSpPr/>
          <p:nvPr/>
        </p:nvSpPr>
        <p:spPr>
          <a:xfrm>
            <a:off x="2794000" y="1701800"/>
            <a:ext cx="2463800" cy="965200"/>
          </a:xfrm>
          <a:prstGeom prst="chevron">
            <a:avLst>
              <a:gd name="adj" fmla="val 39452"/>
            </a:avLst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Visualizing (with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KMATable5ValueChain3"/>
          <p:cNvSpPr/>
          <p:nvPr/>
        </p:nvSpPr>
        <p:spPr>
          <a:xfrm>
            <a:off x="4826000" y="1701800"/>
            <a:ext cx="3200400" cy="965200"/>
          </a:xfrm>
          <a:prstGeom prst="chevron">
            <a:avLst>
              <a:gd name="adj" fmla="val 39452"/>
            </a:avLst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Delivering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9503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You Open PowerPoi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7818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4</a:t>
            </a:fld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933607748"/>
              </p:ext>
            </p:extLst>
          </p:nvPr>
        </p:nvGraphicFramePr>
        <p:xfrm>
          <a:off x="381000" y="1600200"/>
          <a:ext cx="83058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60762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7 Questions to Know Your Audience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en-US" dirty="0"/>
              <a:t>What are they like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Why are they here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What keeps them up at night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How can you solve their problem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What do you want them to do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How might they resist?</a:t>
            </a:r>
          </a:p>
          <a:p>
            <a:pPr marL="514350" indent="-514350">
              <a:buFont typeface="+mj-lt"/>
              <a:buAutoNum type="arabicPeriod"/>
            </a:pPr>
            <a:r>
              <a:rPr lang="en-US" dirty="0"/>
              <a:t>How can you best reach them?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130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efore You Open PowerPoi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6</a:t>
            </a:fld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sz="quarter" idx="12"/>
            <p:extLst>
              <p:ext uri="{D42A27DB-BD31-4B8C-83A1-F6EECF244321}">
                <p14:modId xmlns:p14="http://schemas.microsoft.com/office/powerpoint/2010/main" val="2461273672"/>
              </p:ext>
            </p:extLst>
          </p:nvPr>
        </p:nvGraphicFramePr>
        <p:xfrm>
          <a:off x="381000" y="1295400"/>
          <a:ext cx="8305800" cy="4953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317843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3 Steps to Building Your Presentation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pyright 2014 © Mekko Graphics. All rights reserved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AEC74A7-EB7C-44E5-861C-D52F0FCB3538}" type="slidenum">
              <a:rPr lang="en-US" smtClean="0"/>
              <a:pPr/>
              <a:t>7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832460"/>
              </p:ext>
            </p:extLst>
          </p:nvPr>
        </p:nvGraphicFramePr>
        <p:xfrm>
          <a:off x="762000" y="2743200"/>
          <a:ext cx="6858000" cy="28346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33600"/>
                <a:gridCol w="2438400"/>
                <a:gridCol w="2286000"/>
              </a:tblGrid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at’s my rol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o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 is the audienc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at’s the “Big Idea?”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baseline="0" dirty="0" smtClean="0">
                        <a:latin typeface="Gill Sans MT" panose="020B0502020104020203" pitchFamily="34" charset="0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How do I structure my presentation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latin typeface="Gill Sans MT" panose="020B0502020104020203" pitchFamily="34" charset="0"/>
                        </a:rPr>
                        <a:t>Which charts</a:t>
                      </a: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 and diagrams should I us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latin typeface="Gill Sans MT" panose="020B0502020104020203" pitchFamily="34" charset="0"/>
                        </a:rPr>
                        <a:t>How can I maximize visual impact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dirty="0" smtClean="0"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What</a:t>
                      </a: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 pre-presentation preparation should I make?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Gill Sans MT" panose="020B0502020104020203" pitchFamily="34" charset="0"/>
                        </a:rPr>
                        <a:t>How should I deliver the talk? handle Q&amp;A?</a:t>
                      </a:r>
                      <a:endParaRPr lang="en-US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Gill Sans MT" panose="020B0502020104020203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KMATable5ValueChain1"/>
          <p:cNvSpPr/>
          <p:nvPr/>
        </p:nvSpPr>
        <p:spPr>
          <a:xfrm>
            <a:off x="762000" y="1549400"/>
            <a:ext cx="2438400" cy="965200"/>
          </a:xfrm>
          <a:prstGeom prst="chevron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Conceiving</a:t>
            </a:r>
            <a:b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</a:br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(before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7" name="KMATable5ValueChain2"/>
          <p:cNvSpPr/>
          <p:nvPr/>
        </p:nvSpPr>
        <p:spPr>
          <a:xfrm>
            <a:off x="2794000" y="1549400"/>
            <a:ext cx="2463800" cy="965200"/>
          </a:xfrm>
          <a:prstGeom prst="chevron">
            <a:avLst>
              <a:gd name="adj" fmla="val 39452"/>
            </a:avLst>
          </a:prstGeom>
          <a:solidFill>
            <a:schemeClr val="accent1"/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Visualizing (with PPT)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8" name="KMATable5ValueChain3"/>
          <p:cNvSpPr/>
          <p:nvPr/>
        </p:nvSpPr>
        <p:spPr>
          <a:xfrm>
            <a:off x="4826000" y="1549400"/>
            <a:ext cx="3200400" cy="965200"/>
          </a:xfrm>
          <a:prstGeom prst="chevron">
            <a:avLst>
              <a:gd name="adj" fmla="val 39452"/>
            </a:avLst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rgbClr val="FFFFFF"/>
                </a:solidFill>
                <a:latin typeface="Calibri" panose="020F0502020204030204" pitchFamily="34" charset="0"/>
              </a:rPr>
              <a:t>Delivering</a:t>
            </a:r>
            <a:endParaRPr lang="en-US" b="1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8264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eys to Great Slid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3 second rule</a:t>
            </a:r>
          </a:p>
          <a:p>
            <a:r>
              <a:rPr lang="en-US" dirty="0"/>
              <a:t>Action title</a:t>
            </a:r>
          </a:p>
          <a:p>
            <a:r>
              <a:rPr lang="en-US" dirty="0"/>
              <a:t>Lose the jargon</a:t>
            </a:r>
          </a:p>
          <a:p>
            <a:r>
              <a:rPr lang="en-US" dirty="0"/>
              <a:t>Highlight what’s important</a:t>
            </a:r>
          </a:p>
          <a:p>
            <a:r>
              <a:rPr lang="en-US" dirty="0"/>
              <a:t>Replace word walls with tables and diagrams</a:t>
            </a:r>
          </a:p>
          <a:p>
            <a:r>
              <a:rPr lang="en-US" dirty="0"/>
              <a:t>Choose the chart that best fits your messag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155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d the Best Diagra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133600" cy="244475"/>
          </a:xfrm>
          <a:prstGeom prst="rect">
            <a:avLst/>
          </a:prstGeom>
        </p:spPr>
        <p:txBody>
          <a:bodyPr/>
          <a:lstStyle/>
          <a:p>
            <a:pPr algn="r"/>
            <a:fld id="{6AEC74A7-EB7C-44E5-861C-D52F0FCB3538}" type="slidenum">
              <a:rPr lang="en-US" smtClean="0"/>
              <a:pPr algn="r"/>
              <a:t>9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1457074"/>
            <a:ext cx="7058025" cy="374332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52400" y="5484756"/>
            <a:ext cx="70866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2. </a:t>
            </a:r>
            <a:r>
              <a:rPr lang="en-US" sz="2000" dirty="0" err="1" smtClean="0"/>
              <a:t>Flevy</a:t>
            </a:r>
            <a:r>
              <a:rPr lang="en-US" sz="2000" dirty="0" smtClean="0"/>
              <a:t> PowerPoint Toolki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hlinkClick r:id="rId3"/>
              </a:rPr>
              <a:t>http</a:t>
            </a:r>
            <a:r>
              <a:rPr lang="en-US" sz="2000" smtClean="0">
                <a:hlinkClick r:id="rId3"/>
              </a:rPr>
              <a:t>://flevy.com/powerpoint-toolkit.php</a:t>
            </a:r>
            <a:r>
              <a:rPr lang="en-US" sz="2000" dirty="0" smtClean="0"/>
              <a:t> </a:t>
            </a:r>
            <a:endParaRPr lang="en-US" sz="2000" dirty="0"/>
          </a:p>
        </p:txBody>
      </p:sp>
      <p:sp>
        <p:nvSpPr>
          <p:cNvPr id="8" name="TextBox 7"/>
          <p:cNvSpPr txBox="1"/>
          <p:nvPr/>
        </p:nvSpPr>
        <p:spPr>
          <a:xfrm>
            <a:off x="155713" y="1443822"/>
            <a:ext cx="6062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1.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3035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5"/>
  <p:tag name="HEADERROWTYPE" val="TableRo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5"/>
  <p:tag name="HEADERROWTYPE" val="TableR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5"/>
  <p:tag name="HEADERROWTYPE" val="TableR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NAME" val="KMATable5"/>
  <p:tag name="HEADERROWTYPE" val="TableR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2Cco1R//8tgM6IewbKFfrRHLBm+3nhZwHfIBc7Ef3TdUToej2n8cNjyEx1at7zY9Wcihi4w3sO3SWdwxEK70rtkXy+KvzDQTMOqCO31P1+3HsKQC24zU8zJjPiQeWRDRKm4dT2ch5iEaHRsuAjaM/LwwNCcZ1MSx5hO+g3cNXyavjlh9+KRb4BW72E3RTzloOSBmvCzbECt3fgEsxrGCqYkPLnrQfrXo3HGkyRrBNHoPVnd6USj+/KEbHTtAm5yLiQ3rM9unZFXkueq9gZ60n/zlg5Kr+Lz+3Q7n1aRFAR5G2+VdtZZ79QaUSAFEquZgdyZ2PmDSA8w6iyRWpvROuhplSLJ/EkrA3E5wVt27xAzwfuPROjgUL324AicM/ykomDxvQSfbbdw0RptshvGp554k3XkpRs3gz8ASbBhdGC882xp7h/JIgn0ezOJaZZJ4b8KnAgbeoAF87k2WTzC79IiIRXX6nwjDHmrCPJMEPG/MSGQbQJWjMobZcEb8sLfQdN6RdT2hY4qFixvrICuIot4ox70Z1KHefPT6rPf3WY5sljXzQJt+tCCDhcJb7ITk9Djj5U1JmCHDwaIQHEud96DBfi9+E1eDBG6kYxtqTLkpmVGzxMO+jIJvHRT3Rb5ozzNVyPtWTCdC845fuODTOpSHWRhosT6y4BDiacldHMF5jBiLv6GR41OBwhzKQ62txeQkCaVWee4UVsq5ZiSfn7D0O30SJnTjssTetT+fdJzoGrAGWe0zzo+3EHJO6wutfIug+xSEpP0vlSbOf63eiBTsytuxyEViU2wht6JGHPWbDMihqH0zSVDd28q6aeCDDROPP9CwDqCOpTuO+COCndl2jX6A7qo1Het4RurlZiGRa1i/wmkPDxnEeivFfWqHq6mOJ/nBEa5tqqO43bRHcGJTxSTd6pyG5enS5GqJjseK5uE5uUp31AIrKFMYROsSJ5ab77r5iPtpPcEyLb6QTByKKW2iu2g1v6nT0wzMJO10iutjuUwLvfCvL61wwWHkDPUS5Sdvr9UnyT+sC9328IwPHXTqV1Kzv7qr/lntbt7tXyJHX3E1BUQGZvKNYyPd+8JcpklqaRjnFSXrjHuNodVwfhvgOZiDoUsFSbB710HVTrnAEuZCWNifSO5HCrvDz4jiR+RS7UnrmqRZDF22QDxDYhASs8++nfPY+MXylc/C9evYMetSZ0V9qi4epPuzDQ1I79ocjdIiXfLob5VqkSmlt/a3MK3ul8bmT6xFfTiW+W3F8EccbvsBjdTw9QkB9sZa437GW7Gn1R6L+A1qchY7RMc85R58C0rwgGfHIEDzA/vAcsr0/9sC1ngsyXS3+uzQfeA5UG1+LTUfPCQE138wWQfm8XIqIXQEWKPWLtxCMcwTnD9SP4QpWkdhzUGwZBjIIHqd/nXjfPMlBSrZVBQVuFuMjOSZ13PUdrL8LGUtXQStEAyLtYJ7SZwRrFP4uyTYhcPe7DQZhjjGh+kYncRij8hB5DlpkxVTd3dhA9RZpYVPWNLRzfc2XrNPoYjkzeoVJx56OsU4mngYOcjNYTW63cH/9HeUhfxi/ZtjFVGtuqWJIuLcCvfRCXD2T5ODvd4K9npBM3okeNDON54j4UnT+w9TGWOmiwotYamqS7kHTkZWX/aq9ETR9YLT84rLMBpt2983iHrI/Lpi5mvoIw2t257FrtDWMVzJSdU1g5ON/jYvWdtP8+6Dmhp/VzwenX9QrIIAHeuKxjY8VDV2KdQNoJ3MY9FMU1pBkThu1+i0DZnleA8yP03Zkrgch4AmKfbFEWsLv2uiBonFk7Rk13+HlCxYdeTjLtEVe7l8iRyiuRZgENpRXmRftnHZG5fiVGe1Bu0ZFu01CAwAQzT0g21kv+CH4m/DzqZ0t8ggbj3TLHEqGBMtf0dcMOAl2AByq5LYKgb4f3NGYwOgKh8i2kLjPmWiMN4NfOQkRf7T57MtjYwWh2IcjuoQxZiZ7KWkffEg86+2f4j4n5VywnO0e5GxUvPVDDh/YUSFX4iZigHupvjQs0lJYajM2yase4YajL35AJfps9pGnDBqdDZvYxXj01gduWQITfOeNcE7CeTZPKUpFrv1OIDxlhtsFKzOdC/Zzrfv244qL7XbobflnwoNN1V4BE4vZsDeagCevc7JfYhweEMcqycuKUiMLr46hQWg4VJVi41FCmpHUWD/HowQVMmvH+cE6w7gwrDecmwFM8L6l51oblmiofygcKyu8U8xzKaO8ajz6V2x5amy7O81BHUZI8wByT43QWKyds9SWezvnRMQOApW+xnExHHoLQgJEgYw/1iuVmPbE8sQPg0gULGtH2fVXafzi2RH77mevgPhcAufVFxk5I1Xe/hNc6o8/bowZI76v9FYEtDkyYa68TC4FiIVobLJ0SzTo5lOmbw+bSDShSnxTtX1u/y7ojjQWnljOlV0nT45lbcX9Wz8gTCCpDGyEOGRMQr95kbcp3xkmqE8hlMfhPW8Z72MdvdB3d7BzCbJQipAQHmCB5KqjP/fRnPxJte7PIfHXMYQc1VpixmPnleBb8u5gMWQ8odRxvenoz3ODpd48EEhzFTvExB0sqvo9Ask1eRI63ea2dpJ64IBZWf0xP/MtI4d2o64RhT7WVO4L6SgbePWX4TpeScpJMaehLeHUu6XzbJRjwwkdn2L9TJ6zSJO2AU8Ob4xpQIyryIiSvdnQ/CE0McCwTsMFtB9wog/4JHH0VnG+uRVNeAsg9ol6MKZ+B3I6h9Qe6HgV9fn99NQob72uCWzl+gr6SN0GgHnloFe2IRoeDqEpjr5sidiXM1OjfcjoNvlFTmr7hg6rYIzTdo0Kv7xlfW/0Hkc9DAYtCmc+ZjQeJ3MJXjawi/XXZIop9mQ0c+5E+4++uAY866GGAl9e3y2YJvt1rXa5sxnsW+qDBeHNDwOvsu/OYUUkXXilKUQEJY8cYgPEaEg/PiEevij43i+ZdFu9LOI2o7g5CMQ53U3wPHVldHNear7kURTglx0bUrWFwwx3Kcphsbetvkr5RB+P6RQX8desI+yo4mw0pyCLaGDDQM6BCgw7ANejoR/DDfYUqvAQybuZh0hOU8QTw+NHPKRahu1RYS37wfHBsmEeaQB7Z11KBmDHK5qTYQ+pAdkh8+onpnuzgmzLEpipcTfZ5pwco8TG2OtQv9oV1ck2XOh15DYpoyCFdYswJ5eooDQNO7dL6iJwahflH5zXV+zc8CPF6C7MdiFWGah+LAJpxg09LfZ4eXxtdkfOVkTznSqWn1duaRwrthzzQc2o8/+mRmwpFkZYx0sETJjMpuBjcv1iXrknV7TsY0Kwz9G7L/TSI9IP/wI2VEJKq/gXpH6AoMCxNA50z/Pmh4vWuptHoCnuxhF8THPQBKhO4HhXHADD0d+yAwXxRRmyfe1hna2ajLs3TKZKd+17Vim1T9wfuGiNcxP1rbOQFAFwywZFfMvKW1BOT7jS7enTDgNEwJM7IGmOeakSBEv+GX3ONpbl7o2Z42Ec+G9sV0OjYvQVgAjKqeD1FvaOHW13NNEDX8p8LwJiTSEwIx4lucuj1xEovc1GhUwFdQE0DvOVO9eoIiv8cp+hgfkLHJhT1kOOn/L9sWqb0kFA3H6uMQd3CuE6DFo+0j4tFIcdntyT6noVHpRi6O/1Wm4uOp5PVIRszv6/rmsUz0+vdwo/0u2R7sfWVAxneRUjwN7ZVdl0J12hDPVGEF4/4FQLgLJ+wLXPQelH4Mp9F6OW76FZAUmeY4x+w3i1McJqe604aj3VvQumYI4ibNhz7+SYN3NXN1VBvuYIqiLDE281v4BomD/tW+nIp/+dStyPQWamVq6kyspBA4QxLSd0XHIFCV8Jjc3V+usZPGyUHS48CVbDd4k8hitgfehabW/OF0Zxrny8XsXTNjazmrTgyqwdRpA51h1vWN14Xt6VOC/x54qjS30n5sAvbsJhY/E5JfeHszurzdhsejuwGllbDFhvzeOCECJ9wN0HfGKWhjd4p4GU/iHEQNwk2LwVGwETcm8jDR8GNJW48MriLSnH5jPhAQgaezuDosYy585mWGzQ62hsXvZQPTQ8DC6KN8jWuaWvga6lSV09kFj0T28QMkIxwJmKi4JCBZtn7I4DKTPBjahXrCnNVySUXv//iiXUgLu8z0ck6+rcYMyEkk5mlABaSihUiKDow+zmbK3MhDp1QJIDRJau5MG2Pdm8VK4omI9QOeSbJbby4VnXYpOdtXzkCIUjJZf1UIJz1fxoY6rbL8TeSLTrVkSPhCaToO11dGsykeQ85WH2SpLeKvMoUjJc7Ch/PxYFD3LXN0nZl1nnR6wPP2Pi0QB8QNCaX+TNFNaqBhREuiCck8nzGB8Y6nbglKrrJ+GgtgeS/RriX6l+FZm30whjRRTOLnOMJQO0WMoKZ4hX8co6lhVyb9uRjGGjF2SY5ROOuwF/dbmQD9KduSMrgXM78CBm0AornqUS6CIHRrBoztawN1UmiCnLPuoj0EQrOXJ3uCLMT8miHo4dikFhDqMWUBh2/nvfLjfF7b2HaKZPSqgNx5gMpZrhgeB8gcSR4b3Z/VxCREmIOHAfRsSHVS32xWRSAO7bhd+x5fr3vvhh7uLiB7zow1Rl7bRCy9ZFhG8mJQcUxlylngN7pkTJ3JB8B6aNSNPv3pNE3snHIV2pFziHT2lmzJyiteM+5XKW7mCQGrO4pVEZI6paocLJnBxqVR94iAVnuiVby0EthmiYvt1IyRz8HH1xW1kY6Gv3XH1Ma+wm9lWht1i5mJXT+Y1ObldKQopyzW4sth28xcSzYzDmOTNMuQI1D9XIqtagy2Kkk03gMgBru2AcfO1RETyw+WHSwned/K1r701sWN4wbPPTktYEiiMSRWhBm0Ka49yvWZGd1vaSzAHhq4uUCaoDEXjoC3Cw99yMOEFeTtVgo6MV7cr+bx+vAEPBryvQv8MlqCXP3lZTe9dXHdYurayh7hl1s1WaIU6KXozgi2ecftaNZ7aPWLFvdwdS1k9ORb74tj9nAopPZOacx1slGnQfb0NwzFUOo3caACg/h1DDTTa7sxar+yrTA60eQXrmQ3N58nF0RGNex/vY4VtYs56OvLuepx6bHkwu55rBWCnuBDKyaATqf9yA9ob/yn1kRiruOQi7C5sEXaFQjceb+Dm/sphjvBJsN9PdOnV8wmWj3e0U0vD+c993joMuOWa8yHHvxkAruQGWCQkORx4wu61hx2XnrQbo+M9okEdA8p/wlbL9pB2VpqpOK/4j7QUfvjKgUsmRB7Vy7fkG7/xnRc8mrjnT1AT6og3MhvDf7tCRyVmWg2F4MhMJgDUTHP8YuRLKSjbMEemBcPQVb0uhXSg90ecozJIo16d9qzMPgUaaDH+7m0ElSjiOdeUEqXBDu/z5GplAgfzhN2JHK7eiWSN89oztcXixcYfpPNaUKpcAqIR/HmrvGp1MBYAlRpIWNCQVsT6sP9vu7VJsHPnPx81t7wpp6Zl07J7bfyJ2sJ9JiunIc9QFjAMvpp82PfGoPbYRDuXpt/5awyTCeLjYZcNGGLNcp3TxfYUjd+HMNvFoZP65ktz2QoHKDN14ef41NROXlP/MLK4mtBJ11X1DttWQfPVN4KWHbtoeLcEyyKPXbVYQEqMJecwTbPNq/QBhX20GUpKWo+kDkBucoQjhKadzi+KXwUQKVYF1MxFillpJyPRRplm3RrkDCl3wnKWXF/S6vljXDYvLrxouq4b/mupDzcdZFf4XwfIznmk+47luVDy7cUbrmrhUSKqFQqdIXpXvvoJ0y0PSOSsRYsvLChxuEZzHYDiREAkSpECtGESVQCvbQBSiSWJChZ37UuFuoI98kd2HGf4urwC+pzni375AH/viovTyUd4JmufaIkAzkN6D6QDqC45OOoMo0WFgV1h7W/9vimO2CvtdrBDg2ttuGjRMszgg4TxcU+TTppb2wFpwyp3icp6ruUOTS462l5BvhX+PbfebbrlwGFoM+LRuvJGd0/TWkTmBFUnq+7iTr8ashjvVMo5G+MAAWKHr6otX13ZbuAaolKIx8DHV4Mi1HYLZL+ZG4rpl+Me7U0UYKXXD8Km6ZUyGvlHd/UjAqGJptygg4Feg23rnX8zpzYcXFUHnSDoRQGXrzA4ajDreXEtfuOz0d+l37A9H70NbUFts7fhR7410IbClUA8PSrucvP7TPPBzO1wcLXL7HwFTmF/Lb2fiBvS8QEEPU1k+cHiRU1oKgrkCZe+Hcuq4SH8zlVCR7qJLsr5DUR0AK3m4e2MELj+/WO9CDPIuGzO+YY378k9Pu5kkwA/qqyti94aiR+Rb3Q5Fd+9PfRhbyVsD6cusCJX06+2bRHcJNAiGFpeqk+VExYpv1y0zRNwDYFJuIyUIPDdqRiTpYDV9fktZbivmWLQlLNZR0gGmV9ixE92JYgMPrho2CYrH57EbQrldV+V/zxuuwhHBeEMsiaYeYQ/VW7fxGTQv3ywoqL5dymSbPyiAiIBhARtFqN3z+2M+d0KpDkRDA2VfEIdfR+BYGqprUhDS99EqbNEz5odLvSHSn/bsP2A/Xqs/PuunJL1Epmy1zMlomNagfCVCWodbCj1sUN/w9qbWgHZE8JtxG4KrS6MRu3FaKCklrfWV+PAOQP3bwWDNRSV0D9l0iQqY2I61PmYXpKD2S2JsJCIftAfFYFdRhhrH5wlrRSpQL9ys6zDB5B4v74CaNh+/+5SkVv0IT+4lTsP07XGl54YjlmCdps4O423Lx+igvcta2GgJTtZ4tTDhE2l0ylgLx24wefbCXxiaJveyEKz5/kUUrtwDrKw9Oyqgq5HnvLsMJiCHshYhDg3Ad0Wn6rbKwJz1FU2LxnrDQdNFJuaNBUe0JI7KrQ6bmvStqVDs0IN9a3RiFMZ9CEV7ImqNucw6YFbNWw1/Dl9wSbBJJaturCTZebLkufSXRGc4epxmNC4HJGNv1G0M2W51+i+05TxONyBt5jooUvLD6glCcS2u1VSmT99PrZUKwz4BDMD3h5qc15V051v+yhOCOTxURVx+0/H1M2mvuFrQcBacxLHD7gOyWjqhhqTd9OslgvJuZ4ENNXo86Cx4BN9O6Zz2iIiqRjZKDnuIEkhEHixjuugf7DQh3mEvUEjGypQOBBZyNJGsvldYVO5jWC5SSJq4SorOpQEXQfqpLbn9BIOKRHAUQdtdAVEimzjENKkLr7e4wkVN/2oqfovm7Ap8tJjZUyE6aM2gkb6uN9wWzXrdHrNZyRFT0nJ6XGX9bldbXgK2W1UOIFO2aRrsQ4JPIfQaGQzIykZPA00wLXG6LPQseh4PkHkzItf6uHog+qERsxd+vw0uD4lsPyptK1MolnW/ZAIHsefbTKGwdEHn/NzbnSbMIJZ1xarTYeVrVLU90Mf788q2zx35DCNFyvQ2IR/SfsEUPboRtgMtufbyJeGzkqivPo38a40EWIssrompz4mJ/OfKbokc/OEnzWId4umaZbX4Aee0y3Q19msCsLZY0LUZ9AQnIfFIROL7J5dtGHfEPo+hdC8PcLP8KAutrjsMErkC1UhhCkRU/7GND/uhnC88/1Sv7z6Z8gQISfOp1wFrZ3obH1NNJPiP0LVJHpX7Oa4zrJVlldfQ/lwavSDZ07QcrPUL7vJRbP1CZQUjYmh7Lv5foaLiEBy/eFzU5pDI3b3AB1ee63eHPLXyvDz7QhKRLKUwKgneJrAGBV3idrWxHTYb3A1hZoQZHDWC3L1SlahyteFpoL1zYdHpRu1oUaNAFEW9e/xLH0PnxxtBcTvl9CX1BwaElAkyElYxhJLTrjffmnsDVBbXB5F2UeL4I5QxC8jRmKVSZzQkRDujpgzpLb+OrZvcNbFfPRatyfGiKrSp2jBZrAX3KzdtUwqD6IYp5z3w4p3sH2W5lJq8gEhCUtlB+U2GHG1y/p09M+qvmM/sjQeZErquhQYc471LfcowaTOFnAj3TS+JfD6+MPAK2GNeB/cVh+EfyG+G1afN+LpHEqaI5p0sD20Uhqk7W7hqSPjFXxNyU52ASJWCH004PHXHIaS2HqRarz4kVKnczKfc7BFE6LvDeWIVQkRW9tLl0AK7TT0Q3WLHF/r2iBZuUkxWjMRjaFLmUSSE4ofTfaePnaw8QKdFHDiFainosY9reEtbQjFTttPOGGEt514a64o55B8WRHJsSZ02jFSgfc76Lapbf3KWkpI9hlBOoVg8XTb6t0nG4NY8x5gFJbILiG0dBE3FYu3j6VMd++HeFJMsxV3mutjgN+fpREqx3+qQ6RYVpG3OZKpaGH8/qdYqn6J9KN6M17+wMb47DSKxhiinHUqtm08ZSQ4MSz1rFwlVqcM68ccOQrYfhNvPQJWA6ZSY+YaEtcNSkxHNOQbxNRXCu/jEjsrdl1fDJCzEA0w8GxVZ4L/4zTie780svLRFLjggLBsoZQsOlq25z2F1Ew4vxM7fE804KRc37i+DBB8kXpSj968ek23+0tjPgu5qfiN1jpCjuIDZiNUoBKIyOahRKk+sdnYpXBpHp1u3cQSO/fOv6YOJVQ2PRt5wXl6juLqvh3+fzW6HxUPBETNQ/2vIbQydNAX3W27m0Wwu+8QgVO76GBuHGkHzvI4/5Hit+NtwjlqU8oE16tE5TZntzIctcxHKPd7eBmmMygTSWVe3vPU3ZtaTlNDQswbaIDv34Z3GM/uYRfUKH8Ne9xGn5OoYnICyQhLmX4/C4sUY28cGjyK7rPagd33u33K6eu+KhxrxVZF7kVsN3HgVVcvUeHF28dN9TJRO+iIOhoeNTO8Bbh6fRPJdqgiQAUu0osiZQGsQ2sUuBzFgodLAH1ZteEycVRr6A08uMy3d8SVX9xZeq/p14iLUo4k39o13fEEPMlTDMcXtNGsqouIJUkBhcWbjXaNK+nydj/ESq7wOZYXjjApbtvBF+6AWE00Uc2IjmtgYBzfraFzW9ghvPbenm+Bl7Y4mSSHM/tg5O1U55b6x5PIoZpfwJ3jagghKDu+PRIw+Borv+jECjc3BVKQ0MWvUH2YHPX2kSznn1DfGH9Z6TBJlQuFh34GXSqObBtFO8SfL0azA00OwJB0svXdN+AKHrcHd/YGRi5pdnN+Fen8rb2hay3DNj7h4C5iJw2oSFcwXf30VRXE2+cwNiusa0wFWw6KuRbTOY8Y+L7OV2U6c2FaRGz2QBaHEmjuHvlS4vTSwOJnmkNyLXGbWNzcKtLd8tYlDdD4exHergQpSvYDVxnjcgdmg+39WL7aLUrtGFNBZA8HiqLrv9v/M2nTJ1LJqF0rCcpus5fgxo/vXhRn7o8KhCiYqDHWCpMiBGw9Tk7svsLc8Iv+aDLf1SYmugL49WFkt6HwD+zAWMAuFxWbrH5ta9tnYL2jJh+9lZHTYfn7iovGfd4oEiPanesWMWArovCZZI7kFZUoJWTcf4nnjZZZ1LWpbHoWBiryIBHk8SyJiBZXoc03s13gdTaXr+mqdo/zHj/CirIs20HB12MSmp0HL+a8XMJ+uo/KfAedWmEvdIqLM/lYKdZASzVk5IehyyI8eVHi+i/a2sPC3ivfpCBFQvBovbgkc3dPiroNZQ17PjU8s5TB+0MFvE0KyOB+4G7lGS85I8Zr/l9jTxhHddQgmz3DX15Jqs5ZjHRxJ1nLUqCkQLJJBVYbv0icDnmxqWGMSCfbs5H0U9HCnN+XvvfLT7Ol49LX4dedl0UCUYy1JIXX2x/gHvd9OrLdPBrNhOj6bYdmpcXWo/vAtWXb42+dvconn49Zj5NL8OKHRSUGggS2WWrdBnmZaNK/HW+9im0Fttfhb7efto4I8fPK8by6ddAaleUk3/CpS5S3hXLSxvCI9lNOHTsfOpQtfWVJEicf3/CXKa+EqvgPwu4jb9VrDG4q5O0VVw9LKYkGIhjaBwhp3v9f5VZSv1d8mZMZ+ouEdRtLwWpWklBw7jlOb6PojH0ty7f6HPO0EgD4mxCPKxmztRjxCAgCstnRqjutfUX3JB1rp7w2WRE9W62r2en/9qYPpMeoVcSaGR6y88BRNzllLqrSEOZVK+yY00Iz30JggP8pppa4CA/rgrvv52P6GNyejxYuk+ETh2ZLkfnupMngrx0TWfueM9PtOI54zEg09TWZ4VuXbfQiB19T+8B7jVhxIFxkwaugs4yTRnr5NqXlJV6OsqxkTzj9IxTs82M0va8uP5r1k/d4eEGA2RWE/cdc2/OAbKmDunDt5HEiFrRtRlgK0nnlexf3FGSRs3/JFc5k9+AnAA2VgRWEPFBCMpcVcOSSqddTbwazoH01HDkql69JwwWy2T/XZbXoPcmIVuXGyXRS9fsnvhOBuguS5Ndb79DtDRhuUredTCY/YjsYSYaNy47zrzWdGp157FeybSQwJO3BUoTwNopUtWl+Z3FX6nqqQ2+/fFzVLgp62Fd9dq8ymNNq8VjC7WMKF+ceBnuJfXNG8EGc/O4IOAAs2Oyj7vMVG4Wv7rehDbaotMPpzsM7nG6d4P3p6GzEzTMZG0aEwsDJDz+vveYotO/SOdXTL1WJSzPJrth2QexhWoCUtW9ch0BvhqB8nufjw0A+LHgRZRXCU5cWUNNMGXgGL8BkG93aIVs+eze/y5USkyD7zaRv258Eb9TiEoaA6AaBWjBAlkUORj97dxeCu0c0MgaXHHCI74cpVU191O5Bc9w/JDKBPHii4wSSKYnYPZillkmhDhiNXpgdCoVlE3V2ETi+cBZfHBJWwNQsUsU1ymgRk7mTU/tK6ufkkj1KsobBjOGc6m3O+z84Z62Jmb5gTG2XcTlySvnVu9vu90fV7SN7qLxCC2QC4Wem3mQnYWBvm4pwFXFN5o1Kzp/Oventx5QryLoR0BTqfgONNvjdo8B7yoQrhKYfvqIIZu4lGTslswKviy9+iFIc3mNc8n/JwRKm6w1Jxf5C+GEjTJrfi6YJd/CWFiWpv/2p7ZVxJVSOTAJ0MT1oY2Fhy+FhaOu17VRuTxN1lcgBgudgrAaBydS7K7HuKjXQ7r+xo9XJZYVDAC1eficp3WzBdrJY4KKU9ODaTSrJKZvj5iPnJbgKTxhGECE6NECy2evMsBxS5yaPmPHSiER7S9dXh/CUpjvS47Ui8ANvv5dsRsAXi4++SYb1Gb7rPhQ/3Km6rkvL8FMnClCuT/EzNkPKdDXXDtfm/cZqnDNXtZpdWh7NJeLDahqCxPxf/XM5n/kFsgsJoDgA99e9UIE8uWXtrGD4GTQBUNvwG4LVT4Ib75UwY4Ognn2tE0CC7A8nq/ajPtT5+cL9UXJ9iFF5iN/mD1lcD5mhFhjiAK5Vgl7X829N8xmf+/wV/BdymMqDow1JLsg0b5tW1ps1xs4O6Q0MfY8mNAv3QT6jD5vaUS3MOUWFvWkzHgcaZtBjg2A3YL0/CTsec3FVWMxcTT80ZNxodGgKM3mmV9g3IR4f7pzwSF6+YZIDjC2MdZVOJqqj9phvEYojQIRF6/6QVbPHUj1lmP1QcpnWftcDiBuIDqvDBzXOqm5VwW0qc2zGFER1wTDDKlqgvqrwqNPMzO1JxJAt7RVHBqFBFiXdP7n93z8Oqfm+HyBtsdt2BvUwHjxPoWe/QeRjB/EYLSgHnXZZyRmIXg+uLVVLqvGx6m42ywuMkX8MpqQ4HCg+5BzjsWz/vfQjoTrkSdNGwM3bAur4gSW6KwxS43sbKAwQkAqv/psWarLsN9s/JZhwTEFe42/5qNVaUVp3BBkl+EpCkASZATI8MV/Dx4yMvxYKTdrGdRHDIZZEN0qnp2k2Nbd0Yp+TI8IRBgp+yz7b2g2Xdm4hr8yvskmkif3iXyfFebf42qJvKM0uTLhs2JRFdLr1H7L8u4Q+3iHABOiXI5cinfMdx+zoZjjEY9clsBovJvWUt3fuo0RP4SXsfKEyqSIWahVvHEzz2PXdCtZIIvfZ/YpOxDQxfeJWj4mZ/ZTqmtHQdwtmMqY5Hf8+EvY6DZ7xtf0vpVFRRkmuC40LZ2tvnFVTIG1LBMXGtC8r2xmQPoZRF/hia9jRORkqFRoAeGXusNc1AgKWP1orZOi30p5zKerp4WqT15Vff3DIokF/o9L1m8CgMObxpmL0OR3K34qffPC5R75fcLPMaZxBs1H5hvOREtZ5AAm5rS2t197WCen9m7EFzK7RbffF5PsGpYjcIpsckYGnG8xNSEzIntdkIUrFx8Se12Ad9G3hbB8FLwVAuwBC2otjBPW+XIdCdB7l+9aCJGCLD9vv8DXxSLLw6zJ8nqm6lZfsSaUp1LYLSFgoRTbqOTKiG4L1sCzshBCaRZ4A/fC7cRGxKyPUAGIC7S2fEuMKL3u1Hv6RnqeTMd7gwWLtEeK7b39gvi1V/dN5MzjyyvlFENZIy8/DZB/ZuJTiXPbeycNbmlrp+vVFzCK0PskWyOMITuoxlIpMtn2cAE33tRSYd9ezMxQWNRiEr8bCA/zoij/3vxC8JSClZnZ0wQX13qCco861UKb3S00k8Z8GzoFNAHkzDEPpPGFQ/rblm1S51Ba3C3gFHGwPjZNYR4p0BOAJwN1Sp02HMjJz1WWatsQoYtyK+O2DRQnRS8YEhxC1+trWQA1zUA/nnLqbuuyVZOhuDsaoohgzGMjPqVFevfgnJnOufL94wLg6AmwATJvk2hq5UAWjD54nX3rBQZg/KysralGqbUiObHvB6WOZE826NJYB3CfXBcM5cn0sEJGijcdGTDoGcm177mAlJzDmUL50tc5tvwnuZocczqxttAdFa36p99JhbX+4STG7k+ZJbpJ3st4zF07R4EJMmyVmRSZAY+bMLPMB09rEFsa2QI6CVGJDvHvVDoJi0oxPPSgvZQ/I0SZdXyFnaiiyOoDgZssm2NPahyy/IxNiFuX+rU6RoRjSATgxtpA6kb8hjlVLTkMzVmwV5jyPaBQ3scLcVr6R7H5+hG+g0szGlhK5ROepW6qSehl7Z7THqIf43bpe7LwDLAKQ+sNLgwAGN94sqjkyBkZVqsz4WnbVAo+MGc2n7Opex5lHgbOp3tRmtXdEYPVH5ZoFJGJeRgKHktjMmG4MlgLEfOs6aofeEgUudtxhVY9w4cjXjbRd55fchf1JPfLAzny6dqItvlMW2LN8l+YTsZ+hR02JhXOdH3dx1Zzn4u6tx1ffWyYoj42mce1Vb6ltEoiy3MtGnFU/0Ud9sCY0da+ZxeAQW0Wfs0U7R1qcYAEicneN2bAJrKIV/Yttu1JXvz8q5oeucnQLPXIdNwtfnaCNcJvECC4qMr+eLYhG4zeiYPyy3dnV5qMaP2UMHSMy+hDP8ud9Ehf5JiGA6F1ajefl/0Op6Ankm5QVoSgouPdI+LCVIAJPYDSz3DlOGXQ83IRx9yFsDD5MXG8mWtLv0gEIlphTQt1WERMtmsFSfcaqJmm44I5GkKojAccrifbZgmLEeratzubiGupyO6O4wVurEPlnX88ZMDGy2PB941fR8pv30zq4bWcUFvRG2XfvVBBjzHxVKh2xH3jpzM8iou3NkTa74WzQIFo0xujy6tIL9Aj/lhUAafDo7lANcvQ6PbaQyWiEB8TDMSxxqjNbI8HlSxzRLsHe9vm+AG/fnSknhJVlPXxEp/IeBTAGAZ7PHXEQFsYH076okXQ+svNbBRNfr4n8xZWtQytoCFeJveVKa5Qk4FT9WCSwb9Ubnm1mRnrG4BKnohqpDPiiucHUoK59ah2CujZWjC51Pn+faNrSGpmJd4kfvzeFWY5vWarvZ5VZhPsW/cf7dldo3R6pOy2xLMaAIC/6+ecGAscoHEElRSNo8rT1da1MnL1AszJDiedrHCIF+4mUdYoJgRvSwiwJI1DedV+vC1oL0ruuduAWGCB3aKh0mIfpxXuiCjy5RMSKl0gUp4Yze/NtaU3ypgxbHQpn3ZW46mTaC2P4iAdt5qGlGAeuYINDc/IwfnW2caDg/MTvYgygNgL4lusbRX398XwNzTuVHJXdsaFbHZFOH8aboNw9Pv5CSfCVXWVzWVtA+AkifJV7Y03kuzr8NHOTdT92iCjHUc5AGu0t4R1fCPIAWB5dYk0Vae1/j6/PS5Vo+6pPimCBwwGQpxSU/1wRGBBZdiyDUakniCWmkgqPP0sQ6I/K6t2Le4RNmbW0FM8+6npndhcXTb195HW6W7yLAYP2pU8DMM840YhIymg8cQI5Ae9hxgG0Ic0Q2wkDiswp0YnaUEHU1KMrCwt0Cfz0EO/ca9B/3sjmuAX0pcQkiNB672onCidF7wLKPR4a3HNAFP4K1qHjCHuDi5J8McEUXyIy9+uSlhwsmP+nyo1xZAne1zPGj8xsOxLBOZTnNNFtZoR598cVJ3+eBiwz/eLBl4Xfkloe27w6e6zqd2IMn31QKKTXCZcFSTM2x9UM7mnCrtgq/6H1MM0QwiDnCkGFRaK9jVrNEUY3QniPyQhfDw58CWgdx7RC8cu9dvbtfgkecML4mmq1oEKA0LSGuj8WZm0V1ejBeKPRb9/L+pJ4kK6Jbl+MarshV1/GOq/j9HOxqL4lKoSy1JCsN5C5a/T1oX6X/ItR6zslzuiLpmFq+Yi7htdq6bXXsbgdRZGUAQYY3jCcQTde5TNbOaT5tcwErWXBZ+YDEoOtZ5+1SfDEXvRnjzUZz/hJe7nh6VA95g6cHO/jUyNs6weI7evqzo+BDs0gOK1K5n9Tv6kQuUbT8iUsZH8GNFlfCGuJYIi/uQatCZKVOhD4ruH89Ukkcur4V9zMJATlopNmMC6/eXQd2KdQ7buh1A8D0hsEk7ngH4FijJgdNeJvH672rjE46jnmCjTM+0gxJAVcRk56K/yBiTxAzGDYGl72y7ODWw4zrLJ7CK872jIICzfohNbQ8Srz0kkPIZ7L2u8ZXHZgaOOlO/JGnOHLRSfXzQ8d9PuZbnmgc5Ix5CDFOoVHHHDzKwePzZ3qmlcDlLIl1sqkeJAjqfTK87CvC6yMOu5B4/elAh3xtdNccrdnvMIFRPA947ibFOh0/4irnCKBH9Sdyp/jMgre7aQ+Qi3i1UYit/Jf4i4O/BVmOUNF50mOXRqRlixddNHKG+FC5j+hPSEkT+U5sStG0rONEOZ5qCZo5OqmWAoYQ1xM3Cnmj4iNWhVunB5cRYVwKnY+RPbnUMujnGjLbIH5ZysV+o7gFkZhfqQ17qKpcY4vm8R5ac6uTt9VVUJQ0VIGmPwBO1TUsPAZweJtz7afsJiH/FIBqFXy/MfIj0be/yQU0TUcAyZfgCI3aT5DQHhP/6FHVEVBsSrl2maGwvh30/SVvFi9iXb/EtQK9zWivACYi44zKNVUxHPPUDK0Rsi5g8O/n28F3Jr7X46MWSkf4Gdc4dEC6iyI1Khwq4sDbAFE9a8XObAZM9etGSMEHBEmygEhCVeHGGeEagqNMpA4hvzT2X8rTF2DkaiOjJuEcsdGqgyH1OUfVRvdEXBxgYmmy20Aww6Z9KIO26ld+40pb4vAT1rAT8ilBXoVUGPxjoHatL8jQpTm5n6VLyVVH2uWRgLKqYgegNihHZYkXnzt4oOQ65j3B7L2U275sTGtLJQi6uKxrNmraFfrSeEmuVyxINXMvW0fTe9XqT/sUz5En4CNc+WKRKCnRz+3BJ5DJAGRPDAQpjWp/NjdmIjhLNt2YYAk0rhe4yrLNLNLagGEIAEFam1JE8VfeSA98MOH4+k8h1r34ocvJdlm08BVF070YVOc7eatXiViH4yVF1cRnRfblb9XSvOA3uYrVILGhlKnQr86QbrY4wrf1M+VBoTewbb+/jkr6l9b5TfALQGoBhbB+QLaw8KAcVlvKeU5hGh8ihyn56KR4P8co4dwRKZkO04tQSPA0zzHm6CEEO7VG3MYY+T0iO738ZAP3/r3T50999kIqS+xhYQy1oWX8hC22G5SS9br23mdSg6JUbQ8nR8NvfHCD4WALogMgC6mWFXlKx92kehcM6DvB5WtVGUE9K/PwLITRGrXutVkok9FpIAnwMwEzQBAiaW7o2C9qCiEnMLniPgEpev0rP6nqPbaxrzKI9qQFm+6illrmXi6f7d9YBdJxf2xZBIKtVQmI8QC1zE/7ec6FBBbjzjcGvIVZBHeN/pUlf0g5+rHzVlooA0uSGwCAnMdQgrO7lAY6ZEwMWKcCjAUyUt4VKtZPXMn8UZsvFOLD7kvTwZBpi4oWditbQQQPUrTFIhQD6t6LXWVktXup+w/0ClP9yKsUhlm/KdnJnXL/PzurQv3WBejc8kJ4Xlk2IeQAUW8hlmImFFTEyX2UOV9rJFy4yK3DGNugrA6x+tafzdpuQL/aQ/wQfI/rSfX23VEhm9BfxgWNpcedcKVhA3pycG8qXGL/TA/1kF8TU0eXgDADwAfwtobXaYOZWld9lUOvTNvcmyTwtRwmeXMni+XHyxjo2TZNothhLr0zvJ6VmhL69U2Xw/tPL/BHt1kAHR4JQQXU2TOvEt3Ktq02UssKBTaFpwH6Q2trYBDXpFvtTigk/oLi3SeIT3gp2on11ebQXp3Gn3BRpo/zuAyTsJ2f/KSWiaTX/VRkx1tmUeyNztNxxLQKZLTjryRNdsEKRxO0NuMcBLZZoVVIGaU0cJiXKX+ojiWpSj7Mg41HhRWUjtyM98/It82kYIV/FWS3tAv5jiD/Yf8j1CwPncRwV65OeJc4HX5bbvyXtNBrEGQ2uEJIetEsNrrpda6r2XQMRpuWuGxiGB5EpVeHGZR7wmBzYmbeLP7qD5JV4zfU4Y66og4hAk/Zh4zqPmnzARYMCqWXD/Lj0hRd2VQYnnB4yV4f2UKNCrOze3EnyHnqbc/cSTX3N7HQe1kKppJLlYKnz18VasjL39atD1CMpQGwHv0QGf662UvqCHgmTT7jKURPitQwh16RX5/amEQz7hFbZrmghtTvdwHcR0oRKvkGorPDeXkfHL9jMfepbPWEXwMCCWxPvsULgMyAHCAn2ZqTPjIKoxw1fYEiueSK9nNHtQ8lUVie4BC1EOXuu2slTYAhxDSwH801+wFwzEDdKwcgzyKI7e5+SoxB6tiF2asB+WAWkHUuwwVByynHoNyytd4E9acudvQx8NVxInRh4Na0gFu/fjcMPy4LcWsK6pItYFkYk+cf1jnqMWiV4COgwLrmIZBoltyL5XCFYPRJtSwKosafO9EtDKimgo5woSSNYEwWLhxAdGa+WRqK2lXEdlTuVYeBFtV+fbh1p3GtyW9aYmRX0lzJ6Au1MnfKKjNK+WhMC3c/haoSOfjvflp9VdMon+H4lspOfTPC4P0TKWUTLpabRKKceF17KRgdb6fORNN5w4lNfBB395rX1ISWFf7LanETbsTwRtsQcrcr7i3EE/qNPm8qXxcef5IsPrl4HVulmrbZia4H2iWK6LB4UDQRuRAs/AlwFMpv59NF5I71lgTUpyU+Aez8bEj/V+OjlHcaUsnrw8QWTumYcIlY/rl+NRE3mamrLBVdbfR3P76/MayfPs+/JaOdkG1j9OAgKC2fl0p0mv6yZ7BSdcIaWRSCCTiyRrWGkOZfQZfe7KrChHDes6r0sldSALNCefF/VMDghlJvUs81fhh6NZ2yBhJtPUApkS7sjQOmP27PxKrIHgW1YzqraFCf0bvAo5Beo7XVtEQOqfrAXiEG93QlYQKw454rMWZQeKsl7rtXq+BhU7uSzXZBHrvhleyP+OAmpFfEXzzcqjp1rjDo5E5vgXOJE5GrsIAaz8Wua/Nm+LC7DTKZPTsox9bV1AuaGkcQPXnaslbe4G1+unthQelhamowSq9yVID/WflQVdMYfis7z8ua04P2ZRcr5nb9n4Pb1wQ1bnJOIBSFMnhxUUJhm1Tv2bv+yIsaLsnn/E/wcSSLttwKlwzjkrY/dtmosqecGVnl//FeTHfgum+W5/J+opZUVuZ/k23SOXu6ax/O+CP01Vmkey74xqAUnaHmfifOp6o/xu5wAB1EGrzePpTH2xnZP1aoUWnbwZ80PeJ3UqYMDayf2Ixp/sbt2ENSjxcqzZJ/V3lXA690Fp7/3TVdTnKrB1hRDfcHqJOa8x9FWzwuvgtm00pAxhEXsdIzYLWUY64/0pNQ7skbYfvpckSvG0e0hdKYeKk2ZYedKq1VY5+BlCVXAbMEQLqRxi889tGnJieYQ3BG+PVFrd+G1vxBCLUN5zPy0Ms8MPjbVQnf3bzlGqWf3AgwytoiZt7JgvAQ44MQOgqV/xMAB5sTxe4+b2zhKWW4OP+3ZcEjFGGBE8jgMZl7apLbbW8hjrTjS8ED0y0F8M/wDu7uxJCuinh6ImAadrNnPVt8UFniUuCe48IiCJS5Gqc1pQ14MTM5JnxFBVoa5+VrDVyIjsKEJJ0/XoBs9YXxK0Urw41u3OP3YqaK7iJSSWBph8r9/yXf7PPEqQ7dCXFekNy7iy3lcSMZBGXkwTyth8P79A1G8ijKvrRm7D/2hXB6LOrbnG3yHJg91x9sttX1XOmRDJ69ca85ZqDuJQ1RmU4c5yBJph+AmwVdI0Gb1ckaeH5X+ndm54OcUYVgwALtxtolcRNl7GloLZh+cEqRqfEVtLVwTTVFUUp8MpmXTCvMzfFh3BF5CsJ5a6xIodU30KCt+htEv50LbOJee3ftA8UBgQMl6trFV9PlbKmxwuQ4cdqGL+CYrEC4zOk5bJZKdDTa/cpPltP1WI8vrBrr84N7Kv9GITj6PeZrio3SSsw2d7VSj91HlIkfsny62LR7ypY2Y7WQRUglpecbKnCBHL165f9c9mTEGePBPn9LPU0gO6XYsej/6ckNNeUvpCfN5nhfAYocmz7qNVCF+zlEf64wyaa3eL9cwJnX+yF0d90PIMf5mzDrUo/RC4yTrvQ9hoEM6QBhwiXRq+mCO3TS7LuMIFIFl3KKucjA3Ic/F9yhRk4SKyRhMPR22y3+jNhnSGxA0m2ZK+SKCtlJOLYbU9+1YRI6IUcQZYhP0GcD87Y2KyRxlJYCzxVVP/aaRDlIQCuiVia+a9mSKb7OXQlVaISPYJg6KNg4FLbH4vE1gDDgf6vtN4EW3rUl97myRQ+UKHCKXlxtVegB9ZA1gbITotU2F80cMHJyTgB5/O3i2DCGE/ycDJtCDSQPle7HX2g+O8gZKcIOYzNJSZL0tVb3dqTYfpo4Z5h/50pr+lsezHwdwvH4Lcsgsp4wQjYmfMycx5vop5jed0GSqZqIPi+9wvdUAY5TyAitfREWXzxOBRGy4R6fh+u/2yU//KK9fIDk3txTi2uLd7QMrwvl6R5k45enmK+t6+EIzVRzrlYFJKl+uiIRwVkDNCXIUXAtt/e0n9XqofsYo4gx02PEhzs8NARmUF9swMDgf+pjHD2yJOnw9Dpvo2QQyOsWgv+H/FviwFN6cR29ozftCPQ1ZMI8sA3WQiqztUstzADsPbG+kxPD8/QFd5/pXbGAC6QUzJgSjK5R9W5Bd+YdHfHTnHhal+amRqLMohSPrTuPq8Ex69B23eKpOLTVA2mDGsFdpJfkPql15y+O5tvvY0zRdA9VS0ccgCS2GIkkLtHp3Y6q56cYYOBe+BuRh14Vz5ya88dL5QK2xFw/rimtuL7PurlVtas1oD+7EOofwqGpPeaLG8biHnt6Q2OBD0Gw+1UcO7CcKRHZHUfsFGnlya2rUNrZ7E+DRBn0tJnfpBEvtsN6tYB9RptfSGfrG2yeW2d6eGq15n5ymeZttcQ2xXG+Y0mEqvrC0y57trOVO4VpotMxBHnfF/Tw8pWDlH8vPgTRmO6t0Qe+KD40It3m26/enG15hZuHB/Irgf27Wgy3tcrZXuse56iRb+S6C6xa4i7Ox3Ytf9u0mvz3MV9RZQUTmpg4t0Vl+4OXoy//geDKZJTaf7cBJZeoz5IVvgrTZdRQHlsDQNb0SuxKUFsTeB3p7kB5BJlU3xNGPEshpoqPlqyoH+F8d9gawRez2swQ1L9voEfp98+Q2JECepnu6IB/7qRtSrSM+/mDWZaSGWBSNd7SFaTqhqhJA+kv/PqqQO8U7nyZx1EmfbePb7OOsLlZX6ol4LyguCCEOt1Sa+AJR/YtUjB8G1K0ycKWqMp+bs0bIJCDt/QjSjOc2QJ75W+OJ502zuiMsrVB4PYjMjdc41SdyEWnGSuMIJThenU1F95YGYMjoLl0K3q9+8twOxG5+WVAuUZeghN/VOpH2X3Kh4xo77eFvaH48EtIRH5Ta1noKA6i2g1W3W+GKR6HdR7Sf5n79OekyQgyCz8bBmjtYpkjHuZLdoxHCyftRXcII5qS+eErtfy+oOju2tKBn/LT/kUduFF3CYOMOssadQ8NwZi7ILTkMo+SqaldkjFUuvTnNzNkBa4pp9Cm3bb9nOt7uXC/1lFuu6OMOXHKEABQS5BcJTOvhQBFZC8fWljaAT+Y5QOsdMFnvXwA0GTJEhk19qsf8WsjTPAV8kHz3HAHEwZLZPLcwraTdQoN4aAn4YgsDsoqcIG0x7KMMd1xPFGtvPuTv42fbnKKhb9oX2kIsIkdZTbwCbgYCd4JKmj3/+LKccHUKuzGvUXkmk3i5GiSIiytQ3WXPrAqpOC0BoIu7uEILMcqhcYE3TU0Lo9MDSA0UMkwbqydiOgsGk7nHDAucl/XWX2L+LNcwNYEbHuZclSmAfB0+xCQg9N+EOhXDPB1ATi31zoDjV/AQi8XqU37KKrHH0ttsA9lvCxwDfdMuGd+JFq0vKi6SFVLjXesZn1ZXYWOlbKGLi31OUvuLcAq0vs1X+B8We2R7gD9xLbqby4A+v9zao8t1IaA3D+18ZHJs/keW9iiEkK8LvF8rVaLHiXlAVVdQW3xIQuZu24diQ2MeLr5MGZzdFBM41pL/T46bEoteSXpAcMCRtbaFkJJaPUiJEL6kp/SUaCbd0MdyvKpyD7Q+T5uqbdSLzi1JBzxUwmzo0KzfFLUfSJ3BegWm4XdIWqeeIjetfRbcaCz0WazqT9hOF9rifseqF9AW5qn0mbmAoKegXR1NBloqWncdyOzMKsuKDDGZ11DWtYADF/OwM4zlFhFWqFh5zh2VxUk7nodsEs4b0OBq7ESZqHlEE35+htb8RSm2pD+FLzm5guobami5X7mO7DkIWzefx2zMci5X9/Rv3sgeTiYMvSrTX/LZ+gLnXlvsA+ExY8sHl7QP6dm/cJSaK/Hs891ObTR7FDTrSqnYJxpMIEHp2kqIaexpPLMsxKGJ6q07iRvyOtzGqlRqkdp/E10A7PsR6FfJ+S1eWXm9NHfa1CRqmcyl7oQl/31bpb/b5wPsFJz3cgWWjXFaAujyyLTDIZ+xWJ3eUmcCQ2tMI2tDKgeDC2MUCrFZS9aeuWo2O7S6QMyZo7Qp4ocdrEi1LQq/XcfLTHpivShiDdUeNLa2q3pQ4+40TLla8l6nvaiLPdFVB1jZRbK4jBk7mn/GpYi/oSh9cYjJDKMN4M+J3zPwXcH8ZU2hjBMzTxoJxDox0XsCVt24V4fCQJGDKa3qPP5CMaHcryBWJshyB2kmPPmwGQiSyfJHi+yMeXoQUP25Bq424BikRhwPH2/wwL9563yFcEoCKOiFO7priXVWnsnkIEKw7UzEqre3UGK/OHDWXOzdxK0VihHAqhgRMYKrO7X6zxREJWAVjNyqlSIfq1myFG+fF+J0kHchh+N9blZ9EK//cQMiWK2ryN8afB6LSKaWQ6sB8Hqo7LpVqbKu0tS/cW4z5R5LF1vY/Vu0IxY5zwTyvwXhDtFOquh4qyHVmzn84Pi7nfxric+WD9Grz6AOE4T4fyLiF7WoVf1yRf3WeLUWXAgGhjOZkUl9FJ6v8V1G35X+wwC1XbY76xk0hYaHchWKjAPkz6d4bvIfGn0Im3K/+Co0MEqpSLRfepyT/vpKb0B55M4D4b5FpmtLNRSJ34rdqlVhQbVBkery5eoSclKegCXZyTzFYburpI1uZYC6B16gFHAB4wcOv981P8uCQadWNu3CHcbU7C+g18LalyeMVNpcpFTNiQJteFNmKRuSifYUOLzroCj2hho6aQirSvgB/DMvad1OD2fKZJkdNhk1kJ+dYTgrF+20Yx9xkm95CNVHeOeB1TIc0PAmYvnP/5NNDhNWEEEEB0sOmPVuUmMYQF93gNo6cT7g6zUN7yShFU9qyDR59uewnQ5E72Tvs/pt4EZg/qCsnxiUSyJB3FDjkkGqgEc4Psaob+nyEk5rt+PfIIOqBL5QBQvUGyDODjxGdtNYuRjay02TtVljSCfilCbzoS56ztPEkieeHNPbkkDHOXsOU2LzMLUr21V+HZadmqOxfoalKW44lZDARzyjfqjXpzrqR4VdCYbzS2mSJtm2cRCgrQoIFRfnj+TAk3e9wDdinDPyAlVYhuhNXe5KztXI4CKX3E3pubsRsXIgZzuD0QvcnEHsxOjo5nz7mmbdeWN0FCRazV1j+P1OkOQUAuK8nm+q9nTPM2DRKe9XqFRQEEfZU1fmQewIMjwAscdxuiJPGX2bDGutBAIzUBL+Z/igP8X0k7EIyDCh7MTD/CYTDZ4te5VFkas1pWXyhEslnPmzl/bSQTmSau2C3QQrTkVHazDx474oLX8tbKE6Gatq0xVpU+WW5bM4RRXqSBzXelju9WpCQp4WDyWnKHFFlxXzTJqk4xZsbol0chRqSonudbO9gZxlz9hHG55QJqq0kfMwIAvY84qaIiC//+Tirmb/3AW3b36QscsSrWyGZgSzzNy9nuSTa6G+bCcBbzq2mAZaqnwxzKXxMWljrHLovmdH9cLAR6OK0yJ+wAsLUU04yVNzOJqJGYbRZuaK1yn07v67Dc+G0SkcBj8IPp/KjGo6VGO8TyyYez6egK8sF7i3huyzhybBHjE31/xy4GeBtF1PAEO0UgYfvVuXI7AFhiSGcZ9v4l81S+VJjGAmr7YcncmyB9SpWuvQ5We1K5Tn/tPu1UiB3NiEMyLjhw/gvcfaIOTP4npvHhLCXAoumlVxpM8JjHA58D59jjaWTvL2rRwKP3L5/gTCzbXhvhFMmozbsta7U54hR3b9EuuzxR8G288ahQfr7ODfPP8yQMBc+87Q5pkHLEmwtrQelQvEP1dOEbTr12sAv4B0qPkNrkM0Z0GfOTWYsQa0EDTKRbluEmOHnZeLhgWVsXBHSAvM/AbCoIkyQd3JC392JF5Nu06T++H6d0DWYdTSp9qdRO9ZBzkQsk3h8OXHsgrc57u30h2z2TVcHNbSHjZDsMmGwyLsWEm9OO89LJ5yPyEFvB/A5ZqKgeeTnoZkdny7ZQaKE2xMExYCCp4fVsmvAk7qR2LBJiqwGkUA1ln/rBJH5JhO/5UuSGLBOiLLKtZVa6MuMMSZmsHDY1Xje/M8yLb+siWmyCktsKuRvk5PMQ648gPHCTpWH2dPnPxhpH8FKo/WGIgsBNnKnz6+p78eOrHcGUaRPSzYzALYFtHYATorRvnuGzHlCciTBj70rx2uB9uon4rE95vLdowl8Du4EQqzbks82ot71egXjtzHptDLRJN2g3WBq1lLgkOpOKji6UWSFH7IqyC+YRAkX9jBEJ5r28wz2ijwbPGDZG0lNs889m/yyl6pvn5z6eeA75n7bUqXDnAltTM+RqPzrVXY4gfuYHjfHEL5TEy0Y+9Iwx3OCD46gds3T2Ec+az4wqEjOFQ9jyweAx3SHYmiU19fO4HZf1tCt5PAGeGoxKntpuPb0+T8O+DbB1EUIzS8TqRmAlgTp41hIwGYl2kc9lswm8rReZMiF5hUoXUuv85KZy6Bi/zmRIKV6jO1Vh6ktQC71+LbQz9NzJWhFTcNSq8yZpfYSZUrOocF+d2h2hLq1ZicG00tBY7YreU7xsBH/ze6iGkYhbIFGEFMWtDqIFTtXsrn/6M/fkVGHL4jABL1HwG9rNVq38Y+49HIF1D1uL1aZBip44BXhDB1THgxMN8uViKYt6S9oeXRetK3EPu6XqzNfCzxXuUZLG4mNVL8wbwrFO8ijgrVodzpVNA34L1WLx2SHmcGwg3bDnbeTBQKAc0WMcmU5cUcFEs2GhLNx/82T9+Bd77bJmQrccvra9nb9ajPPJeaSKsf/6T7TmfeT8o06zjxhGSnyTCMtByo1Z12Jd2djU4hZc60t/EY52bgLikoJ70/mfObp3HGnLNDMcPT27dXDdtG9CaWJ3R0hTPpioYNIlgQTCbp+RHb45LI7t02KoFeNNKy3w+e9+2pspLnCUd1dFpJuwfZfMMXtZdj037fyYFljvlZe9vu5Sl8X/wDnfKCyETobHrk1Nw0R0FBWrHKve+FOeiVs5BONLMrk/ArklfAAQfY6d81y4osa1pbTJz2jbIfxOWmeUyfFOprLj5g3FrUq+UNFrf4TIg68czlCFdNkP1y0CkKeBiGE0SUNVZC8tRX2o2Lkax89W/rvPffCnV06P/dhR948qBtV9rtAHwhdK6Syzyo/6WmuaMRRopnyK8vLfcj3WsNCBE4qbsiM7TQr7cP6gP5w+dOFXy3UulA1zHT3DCUp4xSC+yX517iGESHfklWMSlgcBh8SH9niageCJlAB5VhvGU0p9rn2zjmPyPlSieU6nZVJPQ5SXxtOmeNuaLRfRKITmq/svPHM0b2m7tE32g/Jv5UBc0mGcu5Cq0HMsViFMVfCtHa1KU+zq28UGoj9POJKDswFEEV9cvUaPCOGFKZYNaNUiFDhxfhY6oxT/VS2aU5UQQp3JC6dK+3BNg5ZaZjL9FkG3c3HCYGPs0GAFXZymDHuuJCGHuKijoAjk5u+WlBqdGmyNv9jvIUsW3wz3EGPN3MgMa3OZK7pIQyh34tFuBnZGf1tdvijdY4vZ6oszp71Z6gGZGXVPxWBFgS4ZHHYnvaGfal3mxkR+I02Rshm+HmOP7w53cmHzd6GLg3roqinDKqycKz1E2FLVL9PPlfWydPeVtDkG2oC7A4HRqmRrK0WDWP2g9cQy1H3nPH34Nc1CpsS/e05UKt0AXzhL3wBO/UBfkZCp9kLtG/c6zGfe5UC9nUIht//1LCXPCsOzP1iAUxF6vR7Lra0Dpdb4O2VmHlttyv3gxF7H9zRISIqBzSpQBFJZVlJhaWXWgEybM+ffox0vOXDVb5l0UawaHKKV3ICIZCdO4JUAg0jdapuLPkGnFQNKNX3Pzx0itG5lb8zYlTCD5yQesFLuGq82oMC1uEAkbRhi1uv7RJZx1B+1Y5glCUTgrTaT2H5KyWieAa+okcur4OaJvUSnemMBNZnffcgaG996MuSuSrXZYqiIyVNaI8oqU0gVvncK6iNccvl0rmblhIV8o2Yz+Tmmf5sbLwK9cFOQwjoklb5L47S7qlVHLvqHK3UCOhgdKnMzchG+1dqinBMJSg+Oa5gFGOyH52KCoYf61jZvYx+vxNyU72OGR9Hy0Wmmf/K4dSGmxMicA86xcxchidj0+oyesJpE/UeiU2wlmWDR/JpOFS1NUdC3bfi3qS8x/awYHUmTv8f6TWEGx87qVUajFxQUqT7e7543t0LeFLj9m4CXzfHa1l5MmXp9urTO9Cu2rBmpS7YzS15IbKaaQuvVeTGhlMVyGStAq7wXK1MHSU/LOlNtgHOox/wE42Rxq12NcTyw0lQj9XELNMAEzLJ3w7LM4TqNfnd0UT56wXNCMqH/Le7eXVkL7yITfTK64dy4sBoYEIJHjru/jU6Wshk8i+vYIuQU4smGjcIO2EuNOqz/XltVtjOAPPv21+WM4jMHdUW42LwAqn6VGPfl1mtPqm1LrEdo1MZ81X/h8IxvOZpuLPhZnZasUMd00lKSKLVaB4zE7BSs4YIP/ACGcd9ZYC2QooobUhBuXTkc7jC7GdtrojW7A3SYLHCCwhL/86ELf5Mv0o0RTjXThAwTQ/XRSOQDRB0HxMKtPJ+DtSjbKQIxkLaHEUukNDSeqMhQQwxqrg6dum2AFFTYytvjcjVGDewEWcNhzqBiUnR8VX7ccrzBU5roUl7FqUWn5I2sCvs9PV/0L9GcGUSOpSS+zwyNNx7NJjOk19xL/koaHaX5dh/JpSjvMOYszRXrfdwco3jfSdqaWn6ZNXjMzNri+G9ZMpG5ra3/C0g4YlGJTqIhQu+CsQJXYyuXxEz+rPoX2ofP3Z7Gs1EKfVyE2SEWwbpvLStkeewISIClg9XeJtS78+KjAJsoX7EYk2M7oS8Y5I6STmeZjIXK7t8XXqWl0PJULlJ+PU1RlDkV+yroKwpq6POXpbW37aasgJfdRb+CComfmSJw4QXpA7m1PTbjMogKdiQXNJeo9e9Bx6Lrh2UD8pUyqBl1hv2r1P9c8MB8HhFSLOO0hrRsW2xwQQ7E6+zSTno86zhljK7/yTicv3E5QqBdDsGejeOHsuCmQxplYyXgiadeapf1MEVV/q/Up2PTLlDKkEJBH2n5WQ420j7TWDE2samQjXr1MgKMP8PLpEYRG3sV/UvW1g8PP7XZzQgoVmfkCzuSUuJeP56+VzoGetjpj+Qr4TpUjFKR2tEmiogkP1uVflfXeaKLIkhFj2fS4M4ozf32fc1tEKIX6xC3I/HZcpieackhRulW0j8obNIFK8OLQbD3RtukSh7wGPpjPjGGH9u/afvPy/UpRmZrnBWsmDcU0LHy2aUba7SIPq/vWudz82cxCAoWi0bRqGaRMShbprk2ccLwwglqimtIyJq+XGQSU5N/Pis3FnvGSoSNBpQwit3dXXHVbQqXjUlzZMHB71SN4SUtVUGq66PdohS8lxUL54v1wCawUY0wmjyzATf8IDo0G9fitmezLkpkbe4NcWpQkVMBff4Om9fFtXNjKIZhahN5RyniL+Vp088aYSqujtEssyV13yBhTxChbdaPNKpAs5iMEZ2hx4G+BBE1AM/ef8GO042Ab7S+SwKfaNb2X3+K+nOPAi8hjx4yKJFoRiFrghKAXFGgcwBIBi9QQDlPGCyBvjfBl/uFNOyaqKu+XxyARs9G3/F7Qo35yJrA4Gg3myugPsmCCaq065eN+UYDPE03R2SwNXEvLORh/032ipfcmI/fMCT2H1z13bdG8nCmAr5upxOnOTX94Xo3eqAk+rbjtWoAAMFpN5x1056IQUneOWXct25rTaE05T2TO0x3mYPVUmV91QEDPu+NrqoLBsSUan/mJQUJRUszprS+Sz4dHzikXil7SYicUIfP+bNyeKvcEL1gD+0k2h1U9hbeaK9Ltra7WA5TUkpi722s5pBENEits3Q7FB//AUR8/vcTf3/Ck0zFxikhXKdtE8yajf7mmYD5yXGDOKSzzyoG8diniwPYlsV5/QCos5jU5Gef4u4/w+u/eo8StfjORXAWoGNYktJXQ2RA4EIdmr6tcYHsONskHd1bDy+bPHgOpqDNXEO8NhcJFt68MXoIsbLMDngE978WPzsAQSa2Zm6LWEDoJFsSyOdSZ0XropCi2FsCbtx9wRRiY6K1t3zMU0tzib/oCsHYDpydQaB4PB95gmUjpNTogSTJpc1VJfQH64fZ3wQLefEsM6fwu+ZV144KbQYtWxOarL1+xvgkyJJPKslWMO/P1WhKk79omDfrW6fkwvt4uED06QjWM2jyEgTfRGjTkSZQ9jgjJx17DIxsv8UCnbkE9fZc07YBYdWH1PXcO242oyRnHhhylPWWfemae0qQWLRyL9CDEhsLzawZ+oqJTa3uMuNK0c4jY9ElLc/2Oxw7YjGbkOmy28URIAEhh5LNYg6y3Kjqxma2ln7J4eylhN6InxWi5ZzKuIPXHev1wGg4dOUm6Rw2QZlSs6Nn2PqiQGy/J2cKKh9Vk8yiOeb0ZvMzIJwQFBiS5/0oFq68eRQfFkYzbNgLYCnFG8muMkkh47PoWEP6I3dmYX7rfhqkoG7NUi7oWRneUYWgJy1jVoASOkhKvQ2Hpeqhx965hmDPDjKU12oNBuwAmZkMqj/9Bqm+sK0yB6XRTURfZ0ZqHFbbAGqhOgmubMUL9z20r4BpjVMg+IaSQ/m4IBtKgLBBNQczcVW5IzEV7g6jihxXlXgIGWZYXSGZGqFJE8lKY9sAmsKr5NBv2dG9++qewdQ7B3+QTRnpCeEQ0AVkc7JenOyJtsQLKA236PZ1ct/m9VKObPoGo1NxoaGp1YCS/ocLWvLS+G3CnkZlL4UbwrezEM4L7FGi+pK6sSIlgdinytPGz+ZT2qxDmtSz87JKUusUVySHA5uu8S52C7a3nW1gV0TxadklAqM1DcuTXiVxyhT6BIQqvXiL5F14UE0gNxwfAsU41AEGdYkvXwt8o3Luq8aa361rFxg7FniZNA14hiYHmBlvfdoHwj/F8MJz6SsahSFmgX/epRvZI3ieCm+K6UBWX/tyLy7AjCSqMlr/SJIzRLNx5P0V/YilzP39HzfAWrpOe+jwXuX8BXMpmo4bbt+cKkHTpieLHSZGa5bDhY5d3AR8j6Ln2cc2SthBuowbYb1p7JK1OJc99OOYL0wQpUR1mQrL8WhNf0H+o/jVHDfTH5TexUE1c+l1q2lYfGr87iOxdImbfKY8ww+M9HQsreplxbE/Z6AXyCEqwKnFm289GfPXbs9V0huIuWx0UYjNjhgg62Oiu9QH9knxxvQqtumWzEOewCNTHpS5KIVwr9KcLdzZdeXJOzwxi7U7r1VH88QaQ0IQT7QoPy4QKf5BECAYy4JUVc79YSl3xGlSQ62MTuq2piWiqNHVSQSXtlQJc8BeC+N9HyuUQbkJVPzkWLwfSO7jBn4yZ0zA/Yrd1N7nrKnGJrrQR6CRW+n33Mz6l/vCbcEhQv6TaahQn87aZcJM+rKbwrNrdvCKoV2uqdNujG/Qksv9Bfzr8zFCDpY+TU4/16HMukf3TPi8NtbDsSzLXBEaG64YKDOIdjifT28R08fxv1IsK9daLq4Tv43qGdYntHY2AgKW98ULFS3qcFVauEFbTQ7WY+nhP6YTx1hkMmcpWthrFfxCUnTI/FPMSU0yBbR6L3Xh1IWc/H6Ro9qxopCJa47lABBcuAhtCwfU2IXI9tEZn+pqdyGZaizND64oCChlZNxMn3yBtZexk9zGvaKBk8Wsj1aHfQjoj0iOt9n3xU1fvw3/VFDu33jTMjb/uHBSFyo3gQ1Mbn1NP+n2uffXjvsrZUDEqppCnncxJJ0eq7DDVReuPQoI2T5uHKqac0A+/Wi4G7DIzpmZeZ1aH5mJBrDZ4+dv9+gf9qw7vufGIPQ/Dq/omwNIFCEjp7mpgy4pFNj3ewRGM7BNIl0SbYt33fF1QgRmb9TO6zDoXLHBPQ+yWtdauBJRL4wsJA3/TToXy2J7KkIWUhJvbASIR0oc0fxDoGMP8ycJzG9B5VHEBNV66IjaimfxtDt5aLjJ2aVO2/lwNL5J88OpVu/eb60ly33gxK/cspShf+LbhMAq5rnlavtV3uY5/jpu70PwOiwDstZygiCJpskvwO+kqJunIcwegiJEL5Cnm73Ro05MbQ9PRu5AmRZeD9f4wr0smJt92aEWraJBDMjI9lFq3Ej+HElLM5Hnc1vTydTiXLJA08v8IK2rP8G90t1b1f2Xf3icW0WgiZ6BNk92k8deOJ3nBOrPXzQ8SFlL5MWPQcNLs0kEbWo2/mPyfGTc3JBxWwbZHXqkjPJg7cSrgE2sU+p06bU+OjcMCc7ABgIrweqBT3J5akba5bxg8HXJ3CkYzbNS2IMO/k1Ex3OOJMEkIk+MKqhEQs2krXITFRlEoElETTzFi5a1ey9/2IolQ7oW79RI+VwrA8gf39cZ2uI0LNNpy6H8J69Bm/gDko/urE4Favb9NjqwHhQnETB5msJ1v55XpoNRmVmDfwEbKsybxpPojxSfAT20EBSr0948WnQYRBFlMkRcmLoF0FL/bCYsMgJQONPTPeK2Q8Qiz/IhsOh05YUBoetXX52tSE3eavl2jHhvOzoVOSoAmP5IFzRUyxA7xEiTTR/vZ6ozad5fuQ1EMy3u8dTHq/xIInwZKKYMSf5oACI29H/e5Kg4FITD/cEXKp7O6ttKKR7/tzgHYcAR+A3n/M+AoJS2YPD1iT3spSPVkFs4StwvtSkaSt1t/H7NCNIQfHGdsXLZTlB8twx2oOAbYwBJ5FA6iPHVPeo8a3uG21UEqtaBXcpMc3sJamhsbl0lKF6uS5vAJwukR734VobaQLge5Ym6bzSrvxzgB/wxC6rFNFHDbhScyddzWO8/KFvKIliDE5gze0YOmhrrqrh7xHcsIlz/IhIqHbtVsTJUijXFFiUYOQ8TcGILZbaQW7NExGsWNJ7QnYE37/eCaolb7caWrQ3H4PHyFfiO9YHPZoya+gaRtxOiW0JqqfJfUEsUYZEZGZLwN2T5toTPGYle/O8vb3OFy+/587jzXgerQQY4LACjmmwdnppKORmYTkkIQvQSyuBGRi3Bcr5SIY9PfA33jglhyPh76D+SwTNqwnw840hyerkNpZhXkwrgl1FV7rxP+fGarSsQ6ddu6CagFUNPEACEapCP0I+Ixr700XGeuEFd8+NuMX9mC31APpuzPC8CesKHizNgVF9U+q3naAgaA7mS14d5kwmIYT33Jfob/ToXI0ApLE7hb/ynvLo32UtAOBVkMbpIcAWpRUnVaoR2c4zUi185isfbmo65C7c4/krRCkUMpwwNE24E0DLYHjjmu4kpcdAJhhUyZrUyJexhpD+PstlDXFN+aEinbXyV2dtyZkuT6QVdNatwdcxoNmpCJUCPYN9FutPYfZeBBO3JNT35seW20+UVEi2ZB1X0lO6Cv4lpeuDA/Sc1Bs+MvhwlK3ZECw2vJcFMHWOmzAWZjFCEPsce8IX51pgPJlMlGfkVwSJoqN670S66vK1rTbAMNBJ9os3bmZgcybROhmg/e3q9Oy4NLDauXd0OcdCRi+o4y2HExzF/E5LSj4KR9896sPEv/yU2YzQRt6EduKmVdxcwwUV8RqJb3ZDTrVvqRyG3VJHqx1SDmJNCjtN64lypab1uBUsDYC6r0gh4A8dF7CZhlRQRiuKjfWNreD1KPAh8hQCsDWzSwLUvrr21hvLe0TeAv4n+vFCyNb7mBFHoPwdjAMIPG92VO1Ul+CeTu/lA60VoHZFp39CZTt9VpAw94cgzTeo5y1Pvx0MWyDFJYj04cCzKZxUD3Zq92U+AGUXa174NnFMQN6fpQpL1qbVU4mMFraWzwLZZMw2hHk13Ycq0H21iXMWsNLsVpJcBWBVZmLnYZCAcMPfSTwRxaZh4D+iRXS2ZEqPwPBGi/hsmRwNSYqs7JzYyZ8vJmLFrf5VEaQp4WWfUMOg+lJ1DRZK94hOoFbxfeBl4E7h1oserTTcRbZLuiM2bLRYyfz7IVayVpFFK8sgYNzmwqtdGovGZuzVg4rHCCN8PIdb7PEs4j0Hd2Uzww72PTV16lI5lxdIfFEswXKIqmohsx/xSdTm5sz3FBeqh5D4HLM9LBfXTxb+8q/5y0P4VofvwpnkCB/4AHA01IUeoiQDvwIARTXakXZ8qRO22E5TkI9GgLmbj4gs4y9Eyeq1KcYy+N4tHNLsBYzGIdJx0V3k2gKdi4zm82uiwmH2oPhEeVCYGM/DTCuSrTaa+ccesoecwKOlwx7mN6wKGagcqk+u4QZTmLy6AjMwXRYzVGsi2kg9RSmSBXQIm2RmcdX3UG43auOUSLDUKPdIpTUHO0NO9vhwss1dXEGPcN+Z+M0jr8MgpZSw7h1092ySBe+/AZ7XYu0RdkXq8iLCAeRs6E3MRMwPWKwYjV732+OneB4CCTPLgfXXlzW8lAHHzNKEi2J3TzfI+SZEoMCLaNIlaXXZi+MVaXBW5syjGlldO9tw/4UUDK8bii2WL4U3axrqpdQQuWDmFRy7e8sVmVDU05aWLmHd/4Y08FFM0Mz6G1EJZynkUx2ztcG+wIkBIeb5NJ/dsbOczVncCsb/59gEzr8zJc6ii7QXXF3ZBDop+rDIGJaOXsXHLdqBlwgHiOdVA8JqF+6EG5MJh9TKaLoOote8UWec1ahs1+HZWsr34XxgpcYykzAMke36kh5Q3R7wf4Ow7g42xwe05AV0q5ur57laU4CX6j5NXP6v3kxOwV+iPUJg0e2I8fi7JHSj8qOiEFE70lK0KhWEBYGU4bmpviBtTfaxYdN2Rh+ZUI4HFRef02NufEkpyV7FwAemHJFGVTBTUb9KtwJsm9MunOnaxdgx8fUiz8tED2BbsbhfAYzGtDPONpM+vRv8bkNsMw422QLgHg8iAu72gTuy+XAN2nMgAgqyMuzDXd77C3/ILX5LzfwOeSFbiE6FWxUTijz2vWM69ICRe++IIWJ/Gn/oGHfE29qsZjHOBtxjINQzzorGS4Ei9VbI6dDCuD267ThHCfgGQrab2KanwjF+EtiFdRFrqcAGpHai1iXebAwWzFCZI/dkgMi8lMg+4wA5RtzKdf/c3rzTCzj0dwfcq5FTcHxe1nwHo/zgVlhhiCwdjHUtnZAA4lh7ShkXaiJ6lNxBFnl2Gk/J3It/poSeIbee5PflBvFVCt7kwWLZQaysELeOHrClIJLFJXJwiIwAJagp5CWKGb8OOlyHWPhJKRV/KLIlGbAYA23VbxwyekELUzHb3lA78+MBv29K1lRSIEfPEc/Khw2LMyWtKBhlVfOug0w3YN1IUlmQKOhl3yWl+WaUs2+QcvMQ/hRnDYAF1WgjXiTCkxWSCiBqTh632htImDRlaJDehyhdv5CsoxIretdAHB9y/hETriWX800CDz44kapfy7a1nueMrSuRAG0Use8bz89P3Pdgzk4F4NDsOm+ad6wYkbfNO96kvYPptMAooacS/12qlTxsX/0PfGVoOcexkw4A40znbEemqm1rRpnBn2s8DFDKJbIshTd5N3op0WhtvVx52euI++O7ZVfH51uw8avOJqsrKNKiMNm5MVGzszW/pp/BaxTmq+4H5QC71GMyBao9bhUG+qROklF1bBGgfFMkJwZSxLrOZEF39ahDx6hTPWvZIQoVxlydjw6NsR8YXEn6OivZ6iXsLM5uy5mo6H6LeNw2oK7x1cuHDtYmqz0aTKmaxYyqSxBgXFk3MjpsXWjSTIn1QHPdxaPwSC8i6aptGHW/6cGNThZvNgEFGd3leHbwXYZgmkfSEl3sAhTTtiXVKVW/pyc7wCPTZ/1ST/nmAVosI6eAkXRKLxt9y0e1FiLpsC6McSleEt4l1UFjuYiAYm1L/qQvHvodOQAI9s+ZiPHF2xgFSRtaaVIj06fDtBC1zrmDaqDDWwcGef+Py2wbqY84p/JYS3ycvDTNfx+AKWU0QaydzLbRMWnW6NQugSAU8Bhi0vwhn7WtQyBdMDBvFbF7kkMzScJjxRod/6Bsb/GI819xNHP/oRhnzbrHiF/GNnn/XwZZ52AmSinQ859NoTdIn7eqNdDCgzOO5T1QE5WOcWssDqpHGzwLkbrmmaLFONVaORV7B/9bHAAlG9XFkb01qZxVb8tu+bDeayl6vJGdGGROtScpxSCC72uzJfn3SJ1LYlBFsTBgl7IBl5Kw8UXUbEt+WL3XDwJBMt+6Im4liGSNsfCcuZzw9Y2qESRHjn7X8nvEXhV94Bozw2Mkk7n9uTFcK3voAkvqxJe6RzvT4cBcd3MUNsA5AXZKG4fkXJTyR6AiB82OAuNMMC4MHzGRs0UBawatvJ/FAITifrEYcV/lQFj6Q2UhEBgGeHGRItn4ewiLQu/r1yG/lOXRoeDXEPyU1NTW/lDhYgQy5rUPtRZJZo3++pu2CdwLJASB7jshQG+Cifdli8bPzgA19W+cDzKTVwp2ZBBMOuUuljLoWTvuhZmiFamVnUxeT7iP18QO33FD/p0SjWhI/UATLXxFVAkF/6V/u1Fhy5desU9CG5NIdI5wGIKTw5kxE5BSfl/X8f8kz/3WsEUUvUwhGB8UoUZyGu544e5+7Z7c9bnUIKWAQq86g3iwgVf4ODseaLvOAoFWwYv7dC533y+/XDIwJykp+25Ousd70BSmAWSBPIRicoUpBlvVATw/uW8CG9xqUA5MvCHRIeR63n4gnnR/gJ4GgJT5tlr1H165HxDZsYivs1RVtMPYcBMoPXSEafm1ibhoOlkjwpDUwmk3e9K02gXAa6cTNasfIZ52PJtZ0piug+Tz49lWRT9FPqCUUiN28YFPh3wJq2MLx4pW9G0oPgtbOUDzhjxQgmZV9zTNX2ihkVLrF/mzSagCpSSy8qxLgXGyPSz/SPcXK7D0t3xMcY2zLF5tG42nrn5x51RhZI3qkPFKlGdpUuIUpt3omHjmnFzglm05OVLZTtQJsgQhRLh9PYk5s7L7hVIztACmSnLAhoZTsSlMpcXF3Ihfuz/b8Z0DxX2NUiHCVXsb2SW4um23zXju12FkE7dL3xmZ5Kz7bk5S6CbC1wCYQsbmVtNKwLpvANw1gYGqQx3Qd/3OVALgdggHtDf/m3X04Ehzx8LCXP1XNEuC3LJ3qZcaC0TTISDEonCStAZVbYQ1S7DuK8pWm0BFy186oZFEsMaI1cfYVgeEi/YKDRkiN64885mCROIoTR9PFuv2A1pAJzOYT1+tN2EDrof4+jx6v/RU2bwlkfsNaJuwpZq8028yqTPuHC/tFh03wgKEZA4Fu1glBytVXvSgcKV5jJiMkPfdOUOk7cILgp/3R0vd2dwzs2tZ8T4wKUvHWky+oATvuCWk/NaaAxtUdOKL1/77tFxFq76YJEq4WUsIesC1xxYcDB9GHd0B0g0+o8nSoV/TCGUIDW2JBRwV5EEW8gl79Ao5ox9LsDhEUubT3MajzV2s8RlKJU/BksHTVxmwfxLaQN9FD4psfD56ag5xCyj4nd4CCbtND3mcsR+sRFaJ1mUCKvWRj5PhGUVWXQuduAMs8LyxeS+V4f5xmj0VkxibjE95srpZURfw0qdE4ucpRNIozILpfqZneT+gVXq29Nb7Q9zqRzHol8ozgPeXmO36N1oniXAm9D+hRPzV557DM8K2YErmbuILBHMNCR4OsnCAE4UMEWdm+z31YMrKw18a6llp72V/8IgWdwHZ8M0Y8OJtzwYhSXXYEAzfb38YliWHDHR2fctfBxH29c25ipXKzOj0oaaXEXq+sS52Mw/yKDbvypPK6MX3zAv8Nwhr/4+CrQYN53WhP8WecqaYQK9MGX0ftzVVKQux8Tc62/PtOHDZJCOhJ/3osptvDow9NkwvHNKdzf2NlfKS9m/2skdPfv55v9B5vlpBAU3ntBXZQDGBv2809bMSu4oa1QHgLn/NXuUGQjdo1J523MUeVjqtZInU4a0VMAnJbVoTszz82sWpy8E17gU3tuQcxRzDYQhTfStuAm+eIknmS+5T73hw047RM3AW/aphOsCe5A+ot/VoelylkcW23nACvg+7jIudCL5tBl+nHfFqhnsNBWwyxBVJEneVwgrC+JPzXb/4iFuNWTg3tkVtircSgnv8FVTKR3GWJ3XAbhpOH771VKHAcbZaivzGS9N0xVwaKV9U5aOpm2Kq6XZ+B4/glu9GSsW9xbFdIpdhhF/a7Yy9Be3pCAnjGnIazIVSDp814yBjxikV6wvWlmDe2lgAbqkiK6CfTry/dgDP53mOOLAjxAa6C2pNTuSKWNovwQiyllznNSwuLeO4yOGKNzpW5QH1TsivygcvTCsXUOKw203XC1IbbHP5kYiKxOJ2iJY67eJ4fU01mRCpmb0plaXV7vZ3+xP5za6Iih0TD0EPSUI6vVbQ/T9Kee/t0oTpsvts5CC1L9gd40vYfhq2Fp2T9Xb2YkTm12GFpCm7edP2G/iVe7LeSLdiWHAbqjBN0TCWt1Jv3rvgPhlESY1+lzQElUiXbevedDHXEWP13Q8WvmTnlA9br+x3jch9K4DYwqh7bI75QJe+zGTRQck5MK3R2lqH1oy949D7p2ZDq0DWUAdS1q0sM7pqHbOKsa27cIueJlXwj8eqgDUiN26yqBgVHOCWNnTsHL8smYOMOgtm6JylfaoCGPsXHP0B4QAd+Rdptr3P+KmLyR3/OEeLb6C3KVs1fOxjTYz3UST95or6+mjUvKb4bAv1kZ+c8Vza+Y7Vt+vjMuvuqblo//18oU2wfJGOwLs37DpYVJShALAL4Ip4I2+4s6PqC8WNmem5Ny+Hw2h4jPujjPXBKvlQOn0JP4E54tpDdZSlPf5S4mQfOoyRhELNaAjokWAO1d84mMbYEd1SCy5UsVqR7/K4MJy5qkO3FYUhpJBDFUUZu7XbBrTAWymOe3xONO2ev4pfDOEfLSEsjXu7Lox5GVa8QF4IeUXEJD2yVkQvNfnhYFxe8/fAfVOFWKLNTYCGVIM1mDLWZCX9TWPVV8zYsIwU/xiJ17YnTsEpguvotLcs8WHEMos08SRxyQ1YZrPfmQzco9XEgKv+AwvlI6PP/0ie6upth4QnC3wpQgKdDG74K24oOgndHMe7bD4lwl168tlvhfN1sXbcX8LL9VQu0MlX3CoOFnP5cweuW0qPk7E0yrS0Y5osC7dGv92KrLNxp+ncHrMDejeYuiYWE3/5E1gvs9+chxz4USSw96nih9kdY3K5WGjaO8b1oeURIXP2IWdr2AlgTiNPMa+AgzGkM65pv8JzXTMqv45iPawYWNcp2eHCStooYg+FSK+fn2kZ+vTGQhRtlnA8xpSlhSZsS6GVVw2bDPBwV7N99PZXz+oE6KUWcRRXITVUD2tDa6I1qwycai8YxRN5fvNQEDNLaLcwzPZ5PMaMCOKP6OWe0RNy0hpjdoxbCO4UjMjOyUoy9ujd4KQCCBIVbKFs+5cEsqNaD4G7em0Gno/seIatI2ythpKaU/l0EV11d8MZ8ySlQh7rSRWx/FIN1QGdrlkfa2D75Vq4/cecAyYT6gRaTJ8+8XLJIhDAHkdTVrofyJkDwGF3o3J+2gXeqhZw9hiHZjtaL9RiEYPwQoWssevv6KDJgX6nMPnV997W9dKSt8rn5LAQdYBUZyzljArhf9G0ckb+qcPJYCVX4OWTxwDXKhcBzJsUkL5ANxVdJ6l8AO9t9JyHXtuO1cAJa3eMi4oPfZgC88cJ8Tl4S7N1a90BdbUYHU1lXxlDTKejCE71if70AFkLPGDJIwNv+BumVpeddlXg8GiZXDABfVM8J6ilqMDavAfqnYc3r0K2nc9oZOmykuK+eEWOD4wtOHgR5yTrJ9SNPw1gp9VUM6wSr6fcIIF5Ty3Ky5h35wQqRY4LU3cxmkN7O+DJE7z+oU9bEs178Wnd5DbO1O2UU4nHkHI+7JIUoqw1QZcM1E0krnXsO2tyRzVbfhwYtzAgGSpBs4djyDntuSuXo3rpTImpNOKZ5+Lhe2VPc9uzddDTADAS1ChSl4l6Cf/oDc6oXGln/56W7LSrNLzLnWmYKfQGaI8NHAz3/95xovBvvfks1qeb4Ma4J9MxRQhu58OYysTrAvHsDPSJnKGP1qSGiy7KJbsLU67RObXQfA1EOoMOGQXV14xC9WxzSWJDP+uzNhQjvcM2yLM8LphwUmemfSqXnpXaZdntspDFpbR/Arbrlo2jKYpFU8OCPoDBGdGEQNtWcSyH6eCWfS/eSSFf4XKx9/Uo5c3aUHDCYCLvfHae797jvbI+CDjXAEzvTqKtIdPHn7yUsxigGabiP8zPemYqdOyNyf+LH8f4dM8NBnE+D2KAv5HIS0k/ULAKgO5Md8tFGQFFi2PYEvlaAqScgZu1w+pWZRPhr7TN+bmfew0pg0sj48kMkx9cLG2rJYENu08ja1awsKH2WO/1jGDgybiOrOwEb49FD0xhZCwl1TdPN8l5BgBFWOltoPyznk7QRGpgnyYiNqZBbhhEOxucBVZJfnLh1PfBc++qjAzsdbNGms/B6s8ViKlr+qxo2S6TgTSrOF2+vX3ykadt6KNe5p025FKcyRX3Rt1EXnN0U9VGZvF8ydHLrdwMWcnAku0SB7i0gej2mhGC9yPWcmQx5XVSqPPq2HfOk0q/05EmiUszlP6sMfIfCcRxT6/ByYQ3AZ5+YHRd5s774COakifSIwJX5g1lQtn4YuUFhW0gl+azLK4l2h0eztPY3WYDwaAxAQJkwyFOuBIbCMAsKRfo2E3ULYzJJEjE5AXm6C4gsqADwejt7juYpPX4lxC3yLb8fM6+3HQXY4GfS13KedrHG3AJwg4tA8T38u9+RqG1x/9ampexfKSFiGagIjsBOIaCGqjCHwscCFEU/vPd5T9484Q+HM1iouDKqU5dMxu1nv/HHzM1K2UMAHLzTu36udY2ffm2H95mhbh2SYAANf7t+oSq242lhFG4om1jziumSj1Rm5FFMOnUFjl1POaIso+SYK+2LAoN8krmo1Wik/7UhkwwMgyG9830r0KpKgUY9fthtjAxVYn0ybGDVAKRGJLbFQZVcVO66rHWCNQZfpnIbMHaFgRoLk7ZvxTV22YokeBMhemMROYOpUXq3qht+HDa+Fph68sviqTXtUp9Kk13ERnnW5JtbVhykG9+IUQKpS8ahlkjKqqkxEOwxBY4fzkzT5x02BAck4o6SCabju5PjEoaP4zO/3wZKEcyRMhm57WJmQix68R2EGkCkE8MU9w//5YkLwEV6fRjimIoPjgscBPnuVbjOBe5G/QDUKjfQh3ok0RogpyDhPyHLOj3JQNfqxYDY9p5rqSqs1QGEaU7gFpbhUPMvCuc0J9OkmdotJnjLP8ZC6ncU3IyM+bPjfJZLcwaWW5IY7vXBYjj24v3qaMM3uqIbNSaqIWNAFuXV2nNaoQMI73VUdcwO2YwaiodrfByWbnSm+E+fZNn9ZIZBo+ydePAJ+0EJ6nakBHrdzNHuKDZiurMrrKufUqGxfgZVWzmOsUFjd5GM5xeKATzo/thRmp+Y6BQ3YZzSm1ArwIvT1Wkm8JMKP3T10RGjN0Bg4ftnEU25DG/2U7eTVSp9armR+PiRQKPH/KTMYapW0AV6EQtpDOlXs9324RZClvLQDmnRXAW+dJne+SFo2jGZB33tUZHIcP9GYL+ZDSgTZNlHgvasBtSrLgvmfByXcI2h0J2as3ywH7nwOZwZSf98pgs2ao5n//CG6ktZUMTA6vPIPouhwISZJsePDzPRqOP04VoydeBCTa76ERd5dYh3UrA5pOYr+ihIkYAemV1vop7ImWdE8h852VgRLhXQfjqWd/p9LYUjlrIc+RofGbRGWKlz26VVqpBKI7rJh2+jI6iTQKBfjzcU7PyVX6Ry82vM9ojsRcTkDo/nqZCzPAaR2JflOJIxK3skELCiqDaeL88KKs88oBMMrZpc+dQ4nYdNobqgXENMXoNNWcLpW3oAMEK+4lrFoS2nX3MDn0P6/JsJ1/XdEvbThYGmQdYUJ6wMF6Scly1MPgGyM/szuIHkJ7rKj2XPoyV9kwv6XPln9qXZuXKmzyYutq6dzTauXG4HpOsvMfE/FSVvlYNeTkG3vVh5dec99sTaqWq7vKR/Pg8gqxD5KHo80siP2zACElUNa0me+HS+kUO4awDFuiHDHQcj8tT3DxV0wn0mBA4ja/NVcGPHQKhxX6sF/5/sEMir/2qMS1BORJiDRslul0M7eAJzZY4FQ5jT5XyWIcB19OrJB1K134wSivvKtiZUVIcdSywPvxS6EpLdCXgr4aM5+/YgryTJcKWejEnVFJ34Tar3UTDvjPmtDOtbsX+r1jcPwbki1d6jxa2YwjCvg7Sim+zOjAoTvEJ7KjUzws+ZHNM4+NDuX0p2x12oz9qtP5WcjJfWemG3CSutTD+ohwuLlOhbBqewNI1JJ2QTPNsznPBwhB5iOGiNvRf+Ejmun/eDyrovcbxaH6gmBgTjTrrelyA62e4CTBhw9cn6nwqqiC5XN/Po0qjmNhyrfIXkFXxBAt36t+O1bBtZ8oLFG5HvRhOhIdSFgJiJW9lpJfLyzK8ajOcBeQGujcEZu8ehMIoZzq95fu2YYQ6mqDx11P9HGo5hBVVnc/NZ4RCL+eXzc+M+Y6QL0isJs2C0ASYyY0aw6ngUT5ta5E40cPuwHuMWD1fphvot8FLuGkzyhEBxyejjs7cqyiZcExUb1Xp0rmyNOytqpC4SL4D+eeP6yeVR2rRxyn6lwJ3bLJTBRzziDl14rZ8OBNSI+2LJPXyTEs2Sj2yMP+pGIDNbH8R2Y+tzNXHHZhHP1wGSnymTORnPsOz9jznDTCXqa0Xm5LqN/Tkt5iuZWYoPRcLUUvCCsFSDAsQzGFSpgtGRRrEHcPmfPsWrHNI13WRTgNSsfonjFw58WdwWebDcy877d5jwQwzvwuQj3RuwfKYU9JRMcfIqEYWHbFfwNV2AgyzGdL/UrQlWgXGGobBfKFS8SS+tf3LKcePwx5ny2AsF1RZ5rtu82WRS5ZL4K/zWq6DspIHeXSWyVyYfz36umZJeKy8Mon2UK9FO74MmTs9XoCelr1ppx1MrN4b29skQNTf5ETCl3AAc7VfWBv8Ji+nE3GW4DqvOpwrSvE6oKm6ljmbvK1O0p+e4WFEyA+FDuykur78AaIEAMweqmyC677+3Aw5uiDgIk9xmSdSms6HJaWsu7mqgyL8RTWpKH+bjqj3KPlzkXhHtFid5OpN70lK2MAHtJlm1REmX/dt0p1HiqT7x+uJrcY5/xO6iqPXsTgrjhBzYrLjmn5M/jLNwcX5CLFVdxel66Wl7Zi3oKV2eQOb3op4hLGbohwx7KiEM13Z+tqCd5x2o7jeyvoDXyA705NoziJu6RCO2AKkesK8W3bfNOHEVLw093tseTHFjfZUXRi20TNfclnYHJwVQKcxHMKaFRWO7CwcWfph7jmBE1SRk48wx4kqRWbKMDx1JPLZKgwIRvDkdfowxK1vbHq/mQeZmqGAzV6vCb9IICzYSEMhC4agUZyi610XPTIHvda6kbS0fKhuMbWKuoD9z8GiiC36Fi9GdAXJkaqzaIPAJ6D0+zoWizlHYehYDGkF6E1pGOK8BL4HTMRLNKzawAHxYZXM4xZaXXGF9jVKOUu12mNpYzlLftRdoXoTnYcxNLZW9BnoGPnokGUKxOwHEBUAqVAElLVmwLNvC70taKOQQI26P2UXnVotjWuemTfmGTO4X1pLXMPqCJrRx/8jIYFS2UoIcwoG7cHpZkGIPTCtM+S25lGWhLLcDkMlx/HdFjCb3QLlPrbuONo3bVCo+noV0KMoI9JeML2y89KA/b/Tpg2KWE0SwnFXUc1g9oxONWDYpB5U376OdX7Hn6xES1qGGGey8S8feB9y2PYXkLJc+4FmJ7yraX1RGtHALkB0/lNmUNwXoObEFEGS0d/SVEZ26F3SEuZgror0sQ1h2yCUmoucVTyEira2kahH3mA0WBwzm7s4I8dpJgNt/ElOwOYX4FUzk3SiYvnNq3xyuGnz3qDeXaASktxh2Cq2tJqGSyQBYRRsDfhlW5JUQOlcNQgq+Fbt73j5I0NYUGxbWdptvO6+4cM3AGFt2ykQCqT6mSabiyDyUBFRcQbM0/afiTDhyLarnrLYd/kXfnu4cdhikmKfyzoUdqwjlkydhslfK2jW4dbdUa6+PAflsBFf6NVnQtjMFVx3SUjt0TC1Ox0ldLY/3ig6OC5W6vdkVzOCt/CxhyKNK5PJk9CPm3FuRgg/wZEtFylTlsKR+TkLLqc+/T/1ePo4HJH8qKk73Pt9sf7bkn5YrLj0Og4hIF0gFlOgJxhUsIz4Db4XB3CLA2hPo+PYMTwDAB1fbiqM+H9fEjlv2UaKm5Sjl87132cJCjjxyCwUU3fgGv4Xl+Bt4uqOTXmZAj+VoxllL5ZVjb7GRNk1Zgz6zJqsnc8beUdsFKHrn3szeEL9L4DZjChSnnxA2nq2FLt0SLEN53EVmVQemkR+W8RMHoBpOvWzUtuIkf7xKHh61H+PQmV4Co8vtnPIVRsZG/x8XqYL5NlEjMi3bSZCdANbX3v4T36rkYhkl/aXIpeo9PfaRKu+QVt8HtKA7Lg74PjdPWd7TzXaPBRo3MDiVW/LPS51yTE62oX8rIPyb3SL6yNWRnl0ofDTjU3/JmN0mWnDyWSGq4TMYlsDQ43L0grhilzXL0SV1EroaUMwS4UXRVoTdG0K36VC7PWNAEZ0KVFCQxYpYJLufPgQ1hBcqP6pakihmuT4W04NuK5091KWqADcRd+pOOdf4RyES/pZeGJM7MCUxGTxpOQo+11uBHr5p0qIGX71HK5pV49STwr/4Q1ywzoT2tS7d3GyYxFIreNQyDi42It1xvFsOIIsuN3tu0vAJlZT8aBmrM77k8vZrA8xbq8OHcUcyIHBL22Ypk63K8X67kx3szrmkDNfl0eQvMVrhmDVCR1bRqFXYZ5/lAmRsB7/O7ALdvba3UemRwVJ5clwXCCk9tD3Q0pWT2qIttim2eLaiLBIOREdemDZyHJx0Dc+dw0JSgVVa7wFBdgbaSoRprFHrGo6sjt7nzEeLA1vmc+dl5yJGCrnju6p1kIaC4r40dJzNt0CVcbMQClcPHWdkcZpfnHsZ74eZRpv/ibuHB+VV+a05zSh8KcNd3pz3dZ9L8lR1nc+SbUmm/10+dzFNwJgOcKoQjcoQanM3KcZi/0+Pkx0X1b9CMWpdn+U4ojWowgURQyCDhNHkiw3DzlgxMZi6HFu29lXomycKkVrqJZxzP/iRvTR5gTctT8J8RH28xg8tXa5opks8zeAIcXZTrn/k3qpJu4Et+nMplp0XTnfEV1gLNEOXscwGgEJQwrlcVyMC1qhXjooSy4J3WrJmksMM+9rjywdO+gIDfPRKQInA2MUARyjBAR7eqs3neYoFXAVPH42LQ5KFN02Aj2UlqPM4mZ9oVbp6NiZKiqB/D/fqDzfiBMQ+S3ZtZPHsPVgbrlnZp5EMfZ+kgSy7xTlLfZdRaHriyvUTs4pg8voLJ7/9KAA8T6WTf1XcTxYl+VGOPgJsNptOmeG4thVc/yO+2PvkH/V2vMso93cY6BwD8Qv6K68a85yaqFOwd273ljNmAi6q0XkeI1qMMRCywDBIXetDLUkKixE+6kOd0whTJ1uFBevU5osegErl3ea9Mrrz3csmsjJAfjprCzckl4HIpd6HpOMTfsQYux8AGYH6k2D+rKAtzjbOL2ZvZRIi6820+7/5QWzhVhHTF9cWubbotBbmtw27MUCMfRBjzelLqiXuug41LCJ5DYwsQzNhvgqITJ+/xtSFXoTWah/JVykHFRigT4w8OWBOIMbtrl5v5aLfiU5aXeJDO8u24uINGMuEK///lrE9SRpCkJpjGs3twMk+741i/Asmck47j9SacqqJqd20IZrNtE35+3imtCAHdHFayIT5Ptfw4VA1x0DHfh09573UJO6LdPGr3oymRApe+tB1H0xZirZN+2YePeZploE+YKgEmBs9hKiMsDaBvpqlFJGsOcx82f2Qpuokm9aAfkW9BatNW7Z7q7FLBYTa2o/S+BSgVYCmXOrESSeKS16r9wEw6KeYzsX88PKw44UecaRkhV/1VbOOOfEpc+qnoKABrifLV3v6IxXL+wjVyTLg0Y8MghLCLlwY8vho4GNqfRLHzNIJ1zc4X4jhMqpwO61hB2U0lECUykoGIsU+4ib2FWe5a91cpwk3hdnmjMBy15zc4+DwlLK7xqGaT+ztmcSWerjIsSWPKbkYpkxGisuK6WkGysCq0AP6Fn5GmEuMJa6S6V+ukN0ZkRrKngWTVNByfYxt/1th0P/vVOoe7FbFHM8kE+6rWKVjx/xXnSAAEuFIssBRjt4rcB+XXzJIx0CdYQwYoqARS20+mtoMUZXxDeO0PguNJ7J2vMQ7qcP1zMtl/3Aqt5cpjjVkY6+MEevk0lSl4AHXA/+wrlKO5EsqKdU8RV7/9jxny26AVDtBWY2Qzv0uJCE9MDvz29m0U/sGnXDcaX9Gvafh70yBj37Cj3p1cPuVEj6phiOzA7rZglb1VcCPReLHfrSaWue9242u4JEgl0P+XPuzR6JQDafIhSBSX4JewjjDbB/ZgJ2Lh+ZkGnvP6r6zln3H+oUPlejOw8g7l10x1vdtJDKOEIrRVCARXoFJoY10PWtydSQdvdJhs9frks1rTYlh5XDDK6K5h9FelWjRn2FVs6CZZyRb4h08Am2vHHlStncMZl8YlAo6E6qjonRcjdyDhOvqc9/bK7IU7Eoc0/07j+TmnPycjYfsJmThrkG1idsgP+ZiANb5tMgtVOGZ5WMIlQWV//LMBpCtCDmJ2GqcFfgQdEfeFk78qYg/XNgX2XEh8G7woL0WYri8axbGc6hHa9aF38zuH8y5YmJWtezBnA/z8Vf+CwE5hKyfABKu+WTBMjZx+dxEMVxpmSX4pRJw5fDIht7Jh+XXKuks8d2aAmfRGMDAHLHbuodjH77L0VQT7tqLV3FoeIFphbQROAgnMrxVCB/mg/aNVPyZ5CXsCSG7RH67xCVJPKkQIGH1MQL+HTozFpmeMGTinVfe5jKx1bS9XFCJgInsKtMfyAdmJGBeG8u+KoFADVUPBmhg4CJFe8K1SlJbiJj7RnBqlwz+997zvzi+ra57IMCBCsZlJshzwNXuLVhOXWveaa9pDAPfWpuaKjAKcp8jKm+mQ4oLinv+YRuXzAhcIAjsibS819bC1ff34zi+f7zaiRXRJSjIjwdZl3qeRDIfkW9BESdUSihsfjJmtLGuSGWSjepFFfJ8UwjJ6sWWnSKRGRr/auueATfhED5+9Satd7/rqKmvbBeynf2dDmKykGRCBwrZvm1cFDAGSdtyPVkOyMhynFFHepGtwTeCPJ5QUiUJGrYtJXiJdBfM14S9CQePXKHRcTUmsQgk1iIY3qXk/eb7XC08mOzyGxTEPqqLrIjKmEUgxFoXfmQ9Airv7kjNFGu16KAZmSQzZBc5iYKxAf0T8O0dNAYlgIMmhy1xGizVL/rQZhBOOfhYZsiZ9tE6OH6IfB/eb4sK53ZZvGGGs1erzH38bxWPLzAnOchtjGGVCxKWWHperfCm2RM13oIQ3xUrcXJRzheY39yxV/+T/CfbJk15okNqAoZjffOuGxTf26X6vnSS2G6ufqwcJX/xvzSEtvaBhPrFev75jMFXaboBkST3yBdFTonbyXFukR1h/5wIyi699buP6W5K/BJYc7rVTH6OiYvqHnyhBDx3cjAUcVb1zl8admJRbnPO5i8NyPFsIjOJwu3BlSlPb4vOAg/n2OV9WHP6MlgCvCHKnHdEIiqDnLcgUG9VJs/1Xgf3WSk53v2miAVmeetoF2NT9d9zncK8lK4Eq9yD2EELu6HiXin9LbHZFcO5aqsUeHBsAk0qeJVlj/L6YzjoHIuAqEFG/U3Ne3yb4LlhZX9UeSJbWaUFq0t3i/EM92BKochCoxceWdaKMMX9LN5WSR42T5VUIzVSIpXIg7htcgA1ZhvVNNkIPPVSFcZ//ox7cJK++Nlz4H0OkdKiBte7CQ6obkloWGc5CxMd2CN2m8vqXBg7+/Bheesbpv8KCinPTGyESAaAhRrFrXNQJKeERcKyuBIKHJCP2YCgRgh9KiHOCJVybWhV2G0HKu+NDfg1GEBmlsivVwmtCPBwZ+ItqhfMbgs1qqVHIoFJ+v3m378XnFM04BFyVUOwzO4ifviqQ0eObP7hWmfXnac1BQxEKssfTjepWFNGaszNLSQeGXRIFcFLBDeMs6oFQZFhJIVWsWQPODG7BuqW0uxcZZh+M/EOFWP0TcJGpjJYSoGZlw/OsTAN20nWByoGC03a3qLWCLfGyezu/yUj5mXjnm+mYuBNWL6dLguyRBOJBmMhiTyKlrGpUQtf9fd2s2fyvze5ARETIq0aFeiUhnaR+nqDpW4kuNT2llRFhiOvrKc+ISW4ZMnCj7bZFnWu53UOUebWNlzbCvLDX3HKNcc8wr8iqvmmwAIhHurXmxmwHAUM6GMGz/d9nHxnCwsXE9ryt4RM8Ntm4NYOZURpdlE51B5hmsrpFzDSN3o1EdqLF2u31/2db/xtafEqaN5CrtYWVaAOxiNNxT3Oq0EYlnWBAJ+RLWo29jYQQtwmpNF0crq2t7dqEnK9w9w/hSIwj46CxpaQejkIyzvqeV55pEXik0RTN+l0+yzn+OdrzT1Pb2lYZEHWkl1vQ7+D0M1NxS8TCtO0maD3zH8N5DGoigkcoLh8rJtFq7kzOmae/4k3LnKN5DGX91CdnDayHX9J5b//6EcVGWa7ITQsFuevL3BqXfR0a6c22ZU6eCJenT51Wc/hfWFLaZldyUiI1D2/sat1pYolHag44WuLfFwhng8r+Gy8NQc3AQvzanKfpVNdP4+Ts7jdsqzrM8t7FLxFmqIxRu2X3KaS+nAdA+MDVKq23g0N/+ZfDmZdoKgKzREj92CD+XYzlyV4yrXdpb2qnUTu8JaB3fa8BnhUWqkfCOc1d5hILhJYR88rba4sxarZtj90TsihI9bsPtubyy30b4HHPDdpIDC5TyqLgNRUA0lM2/mHnIARsygwr8tGu6bGcflKEHvFBYztQ+nnMdDI5sWqWELvF+KWUTMTpfLwjNJh2Id/h/eS1CKxhKdJpiJNQ+FGPui2tvyYZ8fgjtxVkKPQJ45EA31IQzS7N8RJxILzEa1DRtmiX/LeQjGVpxWaYpAksIoGwpnyypCebnDj4zGhmEKFw/ErGsAAN7ad7KKHMzIVLS8wQ3lzzAxSrA8GiatYFyNgMm82u13m6KjozqNzRnzXtAbFs4ufCgame9jo8iP5H+YBAlEIIrguUdlRk6hm6lsE9xg7+sUbQVw/dywZ4Ntpykw8y9VWm5DrGSLiREV5uwo/uCnq2H/mL1278EY3NYM92NgT8KlDqWcRV4ar7/Ca+vBN1gDbnuQb0DDiwC6XRZaIDepN4RWSn4KH8gaP8F/ZZSiomDz8YkDPw8eSzDujRjb0Aj/M+3c1m9Rd9Lt5pUrj3ptB/9BiEICge2eM5YNEQGB9ghefcUXUpGd3FNbomNhq1ujSKLaLEVzRccQ/WF9soTNVfoY1pbzRemZ5+AG82rsv5mgW7WOuon9b/T1E8nbNBRESymfkcnx/oUUJsmlwt/HmxwuQDcsZyco4pbawZLkOkWiZfDiD52GD7B6+WoVU+cqE0ymsPC2RL0j7hkUgRmDG5fAoH9q5XTGXxxCYFkbUIEPepD6QrcMG81V5+rAmuCOptamFfh76FL6A59fljQs89Fu7x+8lW0S39jrFwGKWMpz4xanctOBnueDnvMXQbBNN6NAl06KDjo4ZieRwbo9VMoia3S0Z75c39ZdFG6Q7Xv4nXihnxf2Ks3aHk3MdXhOML5Hs9C1Zmca1pFf3XaygRtRmcmBpv1nylh4vv1Ez356LYwlUG2eWFXQl/ebyppEL1nypO8/1LG0dmIc89MhU2XU6TioDgtzUOdYz3OqE/3o1NyaI+e6UaVQqKMFyEBO1OaxiFbP63FHfEZQD0reuAw+fMlQ0UXUrQ+bjB1LBDmTUde5EcJp3pugJtQLY+7a3/i/bC03x2xHbsG0Qs7V45AR5Ch7Bn0HyTtHePh/HEo4DD3HIS8fIYLJKO8Z674cYoCrQSPDQC4sDz/TIj9ilTKo9O0l0tEDM43SsyLWX/vdnUSJar7AUodlM7JBDHw775QnNa++df+AOrnL3VGpj6hz8doSDLw48UnVUrQGSKfvw8Bs1dfnykc9lP6BnR8TS+g0s+BRkzzs2UlDPao5tR07Hc9Qr+Y4ZhOegtae2rII/URGANLh6TiFRV42D4Fumvk8UuXSV2syQJgqsfL9nxEwBJ3Vwl9niczUfQ2JU9t/5rp9bW5Qr3n4YlR2hjihj37XmVjahpY5fhU0Nz1AJy+k+gQUbWpzPzHRk0Vv8wE5g+UvBV/sqFaM5NQYgG8+VnuYvXhDlPODSuXLqihKPBBV1OHtLGJU7LnPvzGN3B6/J3aR2ZVYwl2BpgV/IWQTWHqb9IOmJEyzUXkebcoyjCTlH8sNmGrGReVwpLJC7vtbuMuTBHgc6ckwW2A3rJLM34qeTd+eM9WJi1Pr8xtPjmFosUAmwU6DAgDoUFLQWMzFhcAekzbCiAGWEhMCL1Y/pfZ2cgRUIIgQ2Z9qpj8rF5Pr0AIS3rprVkszg4baFsSsBusYj0s5dkzRuFOgqu3x1ajfLTfu3b3wPuFASds6Y7OKSzEJOpwMD19ohY+qOBfMz0gyyNy4Hb0nH34o+LbxH6vDiD9SWTgvQAZ4XJEfVkShKza6xYZmZ/gTDM+cMO1zJiYEHqRdMElZcfymYD1SqvyA3uUE6xWDu/VZmYq6P7eozAuur6mKDFuBMZgo4aj6K+7o7pGXQVblJ4VDaWg7ErJa0CBGxKfRAsnT3GPaqlWDMQ+kv0RbveRM7wi8lRN8a/ax+ixD6mxIJM62HtDI0iw7lha5oMJorJSpEuFOj3yG7xVvjxzaYIbp9fHCVGsfPrMFXCXLPPIwPrCNXkTQu9K4s6855aXbU470wA9jG1uBOvbXuhl1VTm3PW6cVU2FjDCFq55JexXwcVSxY4h8QARzMaAe93BNxNTvdvFTVDvrHofqnYLIkzt1bMZv6Y78TaVNO0Hg1KJKnUBofOfC3zynh+gMLktcghuqWGZLeccuuhEkf3DbXyYVUI1F2++c76Sy1txh3gct7Ti82Ey0ekmHK+JWQB7IaBUnBMgUOSYwOZbIta3oGro5teZw5PP201WYQIXrbhl9r7FnsQ2AwtDTNnSr1Xx3pttEew0YqhChfmODuHqdtVwbVlQgmRkvi09ayLbPmfEGZoZ6SFO+hCgzbU0W9L4xHX9uSbyFpJFU+R03G8uc20tTfD/Ro3QA0MlFT952FVSrXKdOHU4N+jKvu7/cIvjX1EczDN6sWh9aai8PowiOn66N65kAvJyoTtZ1gGSFauO5XjdAtxQk853USlBSs+Zm8CqCypB4q3krUhw0SWKNx/7aMAPnI/8r7Mm+4H7JFp7pz4WzReTyGOI/ZMoRSJ6IBu/FvIZrFghnEKtmfWn0yrLdQdli0Pf63ZX0VjRuJ9S3VPgDQs+ZkDiLsW1G4tLEY9DLnsMcN0dCHCReq3Tfh91sDAJRPz/pN/LolajJigwgST4SBv9tnRT+NNyr3OqG4y5Ymb9Fx2getIVjS/lE3wxbBqjEWRFA0w5sVtyCKUtoEaIeryN3vdyt5VzEpfSLP/ODU0QoIHNewC9OJ4oqsg/yeD/xvdf4Jj/qaW2lWjyEhT4azFtQTC4e9RaCB82UoulYLFFLcA3fT3L2M/tnk4y3Tr709upcnuXMNdovKv4H/8A/UrZaTR9oPjIeo7NjOyr+GZ5MCxwcO4vPLo0FC4LluRMIk7H1kxCVAAp3UCnqE9GGnKThf7f8IcBN64QBAQMGoBssoBEcHNIngaxU0bAm7fpb47AfFtSMsxgafFOiLU7hv/L9Nrd1EoBfoyQh8O10eTaZ+kVUxu6MCGmlo2a+twSw0fHAL9M1fuvu4fVvrFnjfnfhswjTHbt/Kxwa2jOVNz2QLVkd6Lh/91rGOboFlpBztZ6kFTTf4dw30/n21T/eUlup7Iw6ZzLwzNUWc8QFtYedepBnk0bUDsZXicnCfy4OGPmP1Obm7hsVjqaekPvoMSml/Pqi3u2jCCdv61fM1Kjvs+jA5Vy9lpy2nyGdxGpoReSkJk9QNOH35Td7IuF4Q/efbVdzwPNgWRNS+yMDOSkXcu6Jb8XAHD59G7L1Vq3FA1fjucRYX+uN2xzyiEcENuDYkJvznck+lfVhbS6I8zKNln4+qqK+y8QK0tVQNrq3yCNbDYkZLFApoZx8kGpXzFETvHhK0vQVHMs8Va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Qgjk50sGUR1BPoUJefjrmDwNn5yJ5VIWjZFd4eH2PLpe1a3W7eieFPYIpElPrGdtjHKbEs7JUCDTm53n52+OkCl3D0E2Rg/yjOiSz9z0aa/43J1ro26Eqrq1X3uLnAOIJblSVQTNDR3zcoYUz3uSESoB9Ag8EV7qv5/G6DH0n57Bsfa1sNBc/U5/dIsLPmAfN9PQ892njJ7qiGEMdqVIPoEzI283glRnx8liPep8gH7A3SSRbu/WKgkH2CkfYUKj/incNE69A53xVqRC9doPxJI6fCPSxqZ5136ixoK7pPGSFpLs0/BHSSugYHG8SIndDKdhJfaMr6ZcObhJPThFL7V1rAEO9/vCm6UQWq7uxhG/f0PWPibYKBo53rCkGgPnaIyalcPAVAbwixWDjZv8avZyEuCbCRj5/wwZJkz9TjJcP9+PQ5tBSD2P33DMMc7weaXDuAvdc+b50MNWpmQRBbvH+POk+/tnNLgO6CiTOil7sl+19cJVDuoF7vWVrOV3z/ukJZTTzL7dPS6RJBVWAoNbyeERtxlA8Sgmk2W6W48bnerPcKVRg1REbkbFFk1AwjUI76hfUatSifbc5pIqQ5h2ZplBG5D6NCJvSIfQxQg+xWzQtM8G0SdWI9VNjyGgCybNWESdVoUXnV49xHaGxSjDQ3O7ChGH7//OxCLPA9Xvn1Xq7CzR6WBGLVIS5XmCCxwnZW9ejkEI32cY2DHASfMTzZmtPq8DqZ+LgOtK9C8LunXsEU9ZyVTQroKXbfSzXbMtKsA0gcx9RQ/BF9TIw2zbmBIL3vdEeS8ImMVGOVEKtaSrz2sE9Abo6OA2txi4lJapGUiJSTaZbus3gbuRDXD8y8UlfTwWsQG1jPiyhIjs5arYQQawIYCoRMgxK+bn7IAuRAZHnl5HXz8lpLIQnDE51bshn7zofyMhhSDFjaW9qtvRTTAoRz/9Y74U9Rsva3h1YDIouLu5DqSW6CXHGPIY91RAjrlpZbzA8cA/MFwy00TEFhz/9tbyCuVNFaAdK+uaeppstXt+anBrRWTColEXulGVFMzH/8VVDZ4rYUjRuJMQjBljSQPg+AFDmXcJjDcsibzY+JlvAB3tn5nem3nk5yccMLU+0tn2f+TzVJbiJrHUUMywqvVAsub591H4D4ClIaJDtqILX4C2eQaGXq5XloJAAsOediRDw/0VsZq9lGTrcLx3wWyK3QjSfXJBC3WlbJUBo4UXDlW3ckWQvBKreLqSRck7Tfi0Uq4Rkb1qzsHYdjQzHHju4kCz7hUvblmQpypl8jAVlQcNKwptszbz7PurdLuCIsBIutJRdslt+5jxhaOXUW1aTM1HycemlSlxxlsGRODIm+r+iLpcNSPGYsqloIdFSzc51Q9UZ+fIZQSgTEtJbU5U10+53EPoX/tmlKE1ClFAh7F+J2P8i7JKza88Wfj7AwmWQJfEa/1Gv3Yw1VVXLsp25jZOUKw3GdRhV6PK1mm7YRkYeCupkO03ekM9koiWWekypr0SGhf1SE6gzVMowNj562NajnJSICo1guPAa8snoQ9jZ0mXFGxAXIbGudagnfMXByJo27QzGSDK1N6O+ectHLyAmF0dVENQG9aju58G4Jpzyl2xLhJ97wBDQJp+ISclb5l8WD+FLCinuKu32xq447YAhOmrVO5Ot3uk+miTgwVbY4ZHrzpmQ/KSmWZcd+1VUZEtB97h/FDNAh/4KNOO8FDMIdBnttpiGB2nyh6P6EZlZ/hIn3yPOrZNSJ4gGmuED3jv53sbUotjjOmmCqYiX6JxwLgvHcCuYvVGMGzsASqS7mUudW1n4a0pcyhqYUiGCMNog3uewEWLZzSj266mvtfjwTz+6sNk782EInW/KkTdUZ8KTgO6WOjGU3xwaTWppFquOMdWRaoWuBVXN8mbgOMAqVAYKq75Lgx9obataeQLByfyo/EbRPxGGEPPWe5ndILWf7uMOsSBIy0xM8HG74LvyE6a85gnzIiYrEFvKnazHZf0ffxXP5uNmIWK2wXlqK2SXdZ+KQtGKQ3K3wFo3kDYHoyWi0g1Th0dBmeUh64wMe34UgE+4FvJFm1tieqXIlcO8woOzGFnGTxx02nfbJEnPfeC2tBL/7xQES/7mwLiNP2QSsulhYOoc1H+W2qbhoF9SNAcFS+fkmEdInxFOSXV+YPAGG5K2CYF2L/l2NKuN9sYqZ/2vC8LkAsroNX0K65jNB9TFlm8LOPb0ycrrPOuAQbPgar5aTrfnoWdtFCzIf0zwWnU30zCeunylNPRnmA0iwoLt9FRG+DB9SDua3/VOKu4fkdZju5wK7dUh0mexPRadSXz5ZbHGQiIl4M54j1OrOxppSwpqKC6mpYQ185EmYZvgk4EAdZfRdUHgkrCHHQ10dZ+Cior3N/PxaThHQwcy1r+Vv4pOs7JkYQY8Qf5r0ZdsOkldmOMqxUXIAdhgI+GvRThL8euVi6nGeC7WvcQE1lVpiNg08wdcr6H7rI3oOpoMclod+IHv6G0J4PeqLtIBCoYHI8D7RVtAoiE6hQShhQaeHYE7vMciS2cdtloffoBjSI5apSklK00i3f8Yb34OXjan65NlH3RHm3DlELgKaHab9mS5rnMVtf0XwQE281OYcV1BHh8P6kRZ4e39+1Ux9KGshJYnz9elEkGdPSd8nKLpr7ow9KY+Lsc/NV66sJpLgrnrvclTLGz5kOad9ian4lTcmEnqrFMURycZ+yKq+ibrrai61HssYjYCO8ArlNH/8P2xC4fEPfAFtP3Tfx1NFN3DaZJAZHCMRRTIJi4BX5tkwJMZytpUCN0PONx65j+Cp7CI618njVUK0UoB20ZCzwHfNDCzzJkHm+QgpOdlxmEi87XKW9C2aUnqfBG0vI9NvNJwtxa8s3CY0IQosQh/1XY5fgvLTRLJ/b4/b112Vi7kpS/71hs4tJ4y0V1IkfjpOVkSeKqDuJsuDbVbP7lmyB7vWx2B9gf5YA9CTSoXVpJJL+CaZlgc6en7FUXA9sZhER8729MMvuKIgLmGFK3OV8z4RmIzCPKjB/rwTQRpdV8qo+Tl8EBLzcwSA9+jtgHVdV/iR/Q6szN9ArxLDRqqwj3lL+ORqOqH9rTLQlkCA+Cn9uuclSxwufKKVbdWwdWP+3IVLRWOpUukONByxDY9XhUp7rJ58tbuBsj9x80xtlC6gsqpEWiVQrfNk0kEeaYkf/1U8Cd7NrMVrDNqNES9U6orfGYM34S1G5f3ng6Y/REee4lVQjbjUQHWwl16Ii+3Cjk0kitZSljiWv25fUEa6EyEDtntkuDYhY0WC2A4DcaNB2PBDI6ROjN1/H3EQExrCZbW/6hAGZ/fxkPZAzDnMxSD55st4h0QIGNYqoxNmv/UetrNiEj/1hyYDvlgZ4KmZ+2mlZQKAuDLCHGnt27PuENNXJGPyc/uLhursQ7kAtZ+f1aqp+XoWbo6iJklcupa5RNeNelEOtQys1OTu5xt7uo4D4U68mDYPOmqouUVIohXpduoAywF9lkceeiPy5dYQInVfClSqFSmegN0oLgfbf9dR1KKcmxtqxbwA1MlkojABiGkKBWY9oMeYOe3kK9FLYD+bzKYdXaTAf/Q11nmeOOV4i4MXngNTn8GUudrSXCgX5e9sCky4gRPrPaSmAb+j8jR4WP1DFJBgmNPAQwtMDf2Mw/8Ykn7yJaniZwFNLADs0HAJWFnZH8E7Fl6PDRq73bWnoEghwsHXOD8+ZUh8OE14GhkxDmZ2SexjpX/KetpYk1RnyKrHe37O0JSobKMrrD5CYDjU5h6l0ZpW9GJvDoS3rDPwldIIGWUWNhioRh463SEgl+Y71hqJGfncQwiSDw+q7HsIcjLcDKt5Q3txu6UvyGXNjS6ChtVmQ1O7wSAqh1hoSAcp+l2IugQAXWIj0VUfHOYji3+s7pOEEoRE8rS59yIlXCBUaAdEjz7VD+X3NOMSOKD1OerzQZArt56eshdb2x2QwlPht1aIvvGsdvTMIzoaLi3uJQ3onPx3owJ2KJmitQmn4j4sFuOqFn7w4yobjzfoHH/2sx2k1MUqTl3hSyJTdyH7ZAE666PD64jUXwSI9eH3bVPi5RRkHuBTmV8wSxisEBHOXh2IjsnyqNqVmn+7jXq7yzyq/7mTAqNX51/ac+b6rtTiulu7s3pWzDyPS+jU9+BTkTiRHFKyLkPLqYqJ7bvimIxqRruUkHIgXRP4UnCM+Bdb2JhES27jr+WPdwy3cvVajH+Kt1LCevNjIfjW3GlZWk+RuEjaEy+sxNcTG92yC77XF63XT8vmyUK32fYLK2nJM9GVzErDzadB4A3V8DxN7iRk/pFD5TiT2IA/bau27CPpi6LDmFJRyQ5V07pkxQT8XFhnpGmhlsNZhFc0wtvqZ1Lt3G4jdikQirVft81YoU7AnwCaGfjlbSBcijEUrYfhxiM2LwECDLO5z8jsIduPJXwHKtluq7N5DMWHwBkw1IiydQmZG5rWG5s0I1Z0n5RBGGr2AQ4QWn953LdwYZDlHTZzPT0dYlp28u7jlTfUj979SOWAgwG2TFeFMDIE6InhqrF+IcvhthteNgbHMGiuE0ln8lg/6X1eJfriO89cyf30lMWbOmZ4ezDbCPV9UnlT7Yk4npH3c+efKr0rk7MQdvRoFAPUd3BycUW11MPCSoIRWQ6E1ZABlrmDX+zKFQ3W/suaJBsgicrZeYUmkiiD9mKAQBYhbVGURT57uKH5asiA7Vkr2GV5b7slr7COCikJ8wNbglxddlxWN7eKt42vvGKCD/mtnMTvNxJEAoBmXzjU24PFdZ+xf71AN5cGNF03fsSwcp7qyxlNczEbNO35ZlDiSWz3Qduo7sAAkCGu2QoOkuLTMHgwJ1ocZegzSr/LTasTGtFJyNq7nUPwbFDEntXPdel4wvQb5hb/vS67Fm3RRstxxCpzb6hQN99lPDP1AJ0TCoFfLYm+BQtPb23JAX7QJGR23w6M10INvfDJszTv4op5qWflW9Aveb5xFHmyAmRgrMPYrgmMzcW/0fvMEKz5WzaTPAz4E7fm1DC5lhKNxdKqjIK/pDTWhdmv25e0zibCyC9NWr9aGNd/oPerbg7sQ/AY6s22FfM56HcK4FewxUEmTxzVcGU+J3nvdcxATeINnosvKgLfD2WcRULjow3w2cfalQG5l3ix1FkEOaWJ7xaQ0x/jPmt3GIPZUQrPS26Tng6LEYVAwSH0zxX4ZKsFFU79FvieNAn2WabT+DxnBuNIGgtqlXu7f+Y6o8dHD4NFwU3h2zVb1ftqBxpi5old/cczYWoPvBri5gzvZwR9wE7HJv3WN47A6ujA1W3MynkGq3m6LcXvqpC5l73wAktzUzdu8+CmPkL9vI0b2GjUMNBkGn2owhcnWzM9kaq1iVvyezEHI4wKElTZ82N7TgLpmSXc+vXh3+LwsvPdbR0JXngx8AWW+rGW3w9WpufwWwYDi+D6dwp5ARoBG+eOD6LlvSFM18pymppZ8CeHLFmo8eA9811q58KrOp8KW4yyeEu4Z5ncjFVj2q8jmzTG1laTz+UX+rxTflj3xFeqpatKAtJfa9yN8PxNMxhaEgkF3G3zJ3cLVLjCStVCkj7fHzeFotu3HnbwyLxlBsZTnEJ94SEzvxSBYIEO9f9gU8QceJ+PPsDEz5hB34NWGA6WgpxI4IpMOK+vR+CYpr+M36NbKDrNNJiIXTBZtkgG/bInTyLQ4VFUlmIOf0N9o7TBKcefNYDRMoR7LFBFthREpw5levmYdo5GLaSN99XJnSTCY4zMK0/uHzJCz1JsbPnEln0t5NYHTyvpoXUIJn/e1YIifw4o4FVTEU/EeLqhPdTbAyXxcesoVgOooOgENJtQNUDWZQMSYJdkewHZ6KVnKa/2beuxgE/MqsANI3jQHc3n0N0jV29cLbnORqxiwdGNrh9HS8asBLWi9dBrpu25gu3UhpVcKKJrsKtYi1Jsj1Z//7/cprlSGCayDVenUCi7pVRH/B08GFrhH4Ieiayug1FoTfPjFdcAzOd+wuYA0sRUqh5XLN1vZ7zbFhP/FKANk8Vd/leVAO2CUVcZ8CVGh5/aX835owyXZGkjDWSx4hNt2drYefpAyuDnqrLY2CLmYrEuhU1n43hZlkBiGJSUg14zH6rYJJ6+qMgHYXYvRZERqMAdn/AJmi9T0u/ENKkbtEf/7bLmFi6ekvW8V3PbCcrem0I+ftjJ23EXB7krI/HCuqf7eMDwl6gklH0eVIe+basTCb+qYnOCzWPdgJLQ7iDSZuWwOnS2iIRFFSXgu47VzDcYLPfR5jNZQoSVpMnMX1JC7gs93MH6LH2FVpfA4xMU4kCtEWekodVRGPvpQiXhrcuQohOaMREZDJV/Z23L6PnRaUaaaObPWnyTpLGm/n7GZQ1LyJ/TVs/W9wQaYyIOOnFof8g3Y3X+5G1OteMdfk5/xbWfuiJFJkJnWOAxXLlh2CFfLfZw6SyxaEIEG/x9JkA5O9AlZ63hbjT/+1OGYe8cNt52Ru/wLPkmXigKpNB4kFQc255/HKvCgNP3PUJ9AKjO3ccHd+PyJVmfWFVXjpo9Btm0tH2VYQTcj6Y6P/y+6mEm0+Y7/GcK5OjMtJ/GnPrbpq6ZYWyExPTU+uu1tV48dZMGt3EBrop79/SOMMBUwBFVPeJ42DqcQ36yqCaiToW0rJf8wtWGZihkpsJes+0a3mg8F29UoiNdvqncYSsxisfQUXOJatMvdB2OCz/hQz3WAA5tkOxdPjph3W192KVWXsVNlUL+L0wWVBeWIBe32+V7dQHtVT1TCFSaiYoionJgp0CVLPsPKSCBDotsoH5zpZ1kq/1CjNM0NXoeEnF12zXcsi8m1+NBpFyMJdE2OEn9XiVtEsPWsyNjMA8B3/5OULAs8IZyUUJsmZibNPSmvz/trSlm7GiPTBVVuXVrcrE6j174gAW1k92YMb4hHx3fnlxwk8S8hh/v7o+dToulOY+61Vn+yFjq0LvF3yIUHmkbqkah49SQ3A3LfX+AOFOtdE2+9wPXK/T6CgYNZI1X5nSid+iTmG+SvOLCrLcFauK+TWxnnKa4ydxc5x+tWg5SE+kj+QjtClc9H/NxyGMZJj5k9qIUoNzAY23rCmT9ygEVNsSwF4igH10+xJz0JXxURrxS75lFYcW33M0gOA+lmEv+B7H+1VdHoisN5ZcYMQP6JLaAVl22pn1x9medSX2g9x7XkWO5ANlqx47HCzMOM+vk04GpJNiKsfpl82ayfNBh3mZC0r1LPxWIb2e9kmFI3xz1HkJjzx76EmLFOdm10Epzzvg0KC89TI1/E5RFAx6J5nq2KlwE4EhHyTrtU8E/loYQlwPNTRJDMkKM903Lwa7aG4XRv5MW3Rd8QILqH0nseEmkz4SjDwkcTBLpxUR3kuthz5TF/9u69XI0NuAvxQp/Ua8SgdaNMfYthWDZ6VndpFDOydBUiNzJxWrOLePfZ+iV7gCH6qcxkReAsejLDkWuhIq2WtvNha1/oO4i1uMuI27Gl5245dmbra84g8yaIzbhpYae2HMV+aUaz8OPQQKoHdYInfw0BuQgo/ARkqOrgAvuDdE8VcRzsVKskd6A4ILgZZ90YGxlP7ulPRWIxVrxSxW/LTiRRAkTyeJvO6ooxyCXBSnEdQav8NzsCqx1s/eZ+q0l2AWQPsjOD/oqyjknPyM0DpJ4QLNbpSHfTBYeVCEIBkUunwlrkiFjkekPPoaqN/ucrKR5YiDXFQt/FqgBJidKOxhRaAS6cRMEdOFxckdB9xbxLXkt9RoXnfnIKoRG3FX1MGUdzgISszMjORo4+sJb6X28i/No0omrm5ch1gnPsXQ4gPY1NOuBzFZq07kRCXTYTznRoToc9+KHjuqI9tqxIo6Xqu9AFYWnZoj2HyNGJQRIbEmO04VQvVJKskCUfWcbQ20KxQ7nrhj7+R8m8UQGp7hb52fm8K2ckA9fEYTUMZHaT3tacLwTWQY4QZdqPLBP17S0a4mZEgMlfghU8EqaXM3+eE6gvtVC5lWj5ZjQYLZsnRWVgKdxnJ4U/S5+ZhspNf0gRZJKP4/5Rfo/j1KETFP3UfcX3rGzfv5YouPyeUj/+1fN3+aB9lWLdMLs30YVeW93Ps0FtOjU9HciofghhckaDaTuIp8NEapFI5mYq+clTLYQbNxOJYxlEjKzRvnZzbKfvOuMHEzurIPxa+Fvu3pZac3D5yn14dPckfFlaCKE6HVSi4jaHWSt7BTgjFOZLdWz9qgcrxr9lGOYGoSZkBNfLb+0H8MQqfnUfyUfSpMQBngIQ/iN+j5XXbmq6Mj8961e/cXgE7LzwhtckmBFeZ+WdKig7ZtiA0NiUrYCfDS/X4DU+tyCu2aLzJtsMO6MpOWB1Kc0dfqXVYrnzCNySyHz1Fy7jUSMaxKZg+GH5ldAElIsbiZkOptq7UL2jyUAcDcGf8vaa+rJZT0oUq6ahD5j4Po/cfxeA91V0nBmDQMWoN5uSCpIzOBGO0yq9Y/U/0JfbVCZMUf6g2hkkDqZz/gk4a00hT+fyM+uLs+PtW/Srhy3Z8PNXl5Coh5o47AuN90gQ/+0Ht3Y/aI8NKKezBKbPYLqg+e3441bqtGySaEba67sy0j8vFxEmOgIk2kBt+5qntBds45hmoc0AWSWuLCj644QZ+Y73NptFPJgvh9A0gqBprxP6U7IT1OR5k+SLyYo8I3l+rgy3hbfXGCW6kPRLbiurI0b6nBrMH6lQ5bRg3aCK8NGMiiUprUsrgs0obrFNxDUFEYWClYh06nb7Q7muMgS0Dqw68MzwONLEfurBI6vHzQdp5/Eo/lULWGKUyd5No9FAYq6S+EnTCcnbK065Wl8Jl55hps6Mw+s2SflbLthd/U6DwHvyQnnVzGIJ/ljJkUMycDL7Ug7sgVKbgFqaTv/G0WzobrkjIntwTTKV5HxfA27QRHE7lynEsPeIMsLDtjLhKS/mIaFWaQENxyQ2FvOGnlQei2rGiKHEjh0JCkeWPiuoHUX/Wsm2Gb39vsyYhgB8hdL1c7sLowSywK/x/v6NOFBrnnswVmzv4Xe6xBVTPq/gTpvWfQosWjFSsUMWOwC5ItzrTRRhXn450lD2kRv0hEhEVsykSDy6gBGNlMU+TyRsg5ONP0IHF7ki+KlzlUZxmtXpgsBValNPtBtNMEg7BU+k6LxsXvf9h7qcWv2RW0d79lX86ESkslpEjY3Sbj/EsQn3DPYY6FElnhq92P+MudG+2I1UIBgO9lVCQ8+ZgwFoF4mITVskStcMMjrxDM6nU4VFt0UAgfiJnmETX7Uq5UCBa7103QDGeJiUFTMh8FEGi6LJcIo7vqhleFjXWJG8Lg9UqB3LIbOreRskEW7z5Z2M+jX8A+Sn8d+7yKC1ROSSVMxWW+ljj0i4t/DcAVJl15GBSk9H0GfLuZu7hy0h9AoH6eA/eDBeRq6DhENCFYRdX1Iv5cTdLWusEU+2dqMPbUb/kvw2ATQOXvoJgMVknzu/deD+APORwnIhKBirCaKGA+BaT4sxlmBRlDdIzXDgQ2cu05O9Y0PxmEcO8HHqnQepn0Mc5ZpeaR/IWu97DMgJCp6yE8zMwMKWMqJSQl96D/IIm0SqgXtOwtqMhiWSHF89mf20JugoM+W8l/q+ufgCQg4+Ktn1VEeZLfsa2nKcVOjNgBZO7jSGoDsHr5XaqQ1E0gzmxGWPhJxqB19MQ02MyCox+E4kR5T8gwyyRYt0rFrNCcoWwILwSl2+oXiSTThuaseey3wV3sP9odoJ+TqzNYbjK49XiqINfF427CCrKciLf5aI5lHTVsX0dshJFP0o7dah4tggb7jkRc5gDxLrNdNSIAMB8iFhLK50vQiQTuZzPM9T/ylP7sEK8BI2DPLEfGfIouwjjFAO+SzjG5qKfuFmpE499Gu1yL2Cb25TDGZNwDe8whdi+FXH7d3QNLuHFsI2YzPo6nvEyQZHVwmJvC+0hbac0WS28AhbZsN/K02eZxINf3lTOKANQCaTGIxmRGOut2NNGKnZipOL1JDEfY9N2IbeVa4I1lbKabYLRj86kImKe4VyGgA2Bm3AMCaHjllCnpSDeZbLzKty7oeXC9sQdMYb4UPrB94F3fDTY0g7/nWLX3TsCGw6oIKlysc9Ses8egoM5DVCle+HtPRv48LZUHIhZWwlAnKxWGz55bXQiIMP5+oVf53SJcXX43pLh/oihZCrzRYQVa+nK/ahA6VAyl3JY/e2DZudLSBrEfjZU2UiPh2QQUZVQUoqNFnT+FUquTCQz+408BGXV+h9aj/Lnk/ZJcX8YeeNNGpXDV6RB91xb9ox9uU8paLU2qo9JZBLJHBOw1m2TFmz3XGGbAY90pbAtNd3z+Z0uBrzJGfNndYKxFo/J3B4k5BOKFUUEz7xNWvzWJPL5egD2nt9LgEi3ntKxVCi4W4UI6mF+qjwMgpAw0VHoKI4IY1kU+rSBdU1kN6CPIjerhuBeSkFgGJTEHQBS1sIQAJesn8Dw3I052SkujPkmBDAUzWU7ofxtFD/M/jfJuhG8ktC5RSpPkeVzAeyl8CfgzmFlp3pACCFZTA1qLblmIrXT2n0aO3ZNKKWpkyv+Zy1nmKGis+NE513a/Fx382xiLuHS6DvBtBnQZgHYp6N/UI1se5IsZNMrkvtBGdcUNhqoPpJxieetuFbR1CD0NoxFGDH0CxdYEKA0JC17Y3Ii1lenkt6Aolf7JcPp28rzlBgbrz+KZW5m1S5aYRD+3XQNJ/ijZhES6eYzLOpa33BdHnulCpWyf8U4pYKZ4NO+JtEQIHGvRFqop9atjLNgJCscj2GsPNPeQwjJAn/ahWAaXEPnFN8YXfkkeMF9okSGcBsIIToMA2+l7b+QAtr5cCyojcfBtrf7WMwtpwPk5wBw2MActh8CVZBqaa1MYOJ1nlyNf8p8eH+vBz+JFPt+Iwzi0R5pfpad+1F1Fd0G+ZBYwc0tv/P8JwoThUZMHk+b1JY4YMCymlzuHjHhqbkUa9hHschzFhhAJZ0gI2Z2UPZgsUL4bn1NhgGu5NP3hEl+dk38enutqwpc345MYUE2Se90f42KFSkEQ5UnR1R1AIIaqsgEZcuiJMkbcNv6vWzKjkFDdGnJBix1zVFLMloaBycUaO+QDTaKkUSfPJoQjhFCD5hV37fgWLeihw7BabRHN5RCDdvbyd24oL+lHiEjMUJrV9aJEvjeBJTVX09jnoBrxBS5HBXUHeigimzAWY642iwqEH4h6EnuoD9gbdebBdLLkFBCI17LTYT3vagXa7VIQtxQu9DK8dblTzez+ZpveZ1PJqljlSvMCkKcTP5h9i538nMK4iKwEKsW6oSKQi0GiTady7VPmFs2xzg/43FCPe3u9AkjVHBmAdcTIj77hGe10D6heQcJIXiwtZTSav2INsN+wBdPoN5p87Y+R7XltJImM61ZXiz9ZRnWhdD3R1YSNl6eIHHfM+EAbCYCjHmSawzxKeJ48Fn//W3R7K+CF+uNM0hlWJZ3m3Pnxnw1GMJt29o9KmliUAj5cSfJXXUgsaaJA3w/01A0P/k9qHdM7TN9r1oqktZZb8QDOWRwBjE54o6MJy+smdwlvnVtxNI5AaBarBcts9qmOKn9tEnERbNgteG2jrgPsjQBc3/C3rliCFhHoXROfU/04W8si/er7EySQapiqey7f25yFuYoOMDd+VH3NZ1i/gWQVTNNxrpNV10io2ANgEkmlVTaX7AM19swV5e/QlVj6NOPHa6W+aKlEoy7KMA/CqYqLBxpsGErkt9kjeKuha1IQuLKbodWI5IN7ag0pr3aNqS6EGVKaoVJwqgLfVTpWmpqyvUe5f23wpqnyGo0XEoMMtFmND8sBegznv+tJiVr1Rk1YGTu+47V5ae12S2kVGqRjSHH8zbtZzBfgIlEhyLPGaEWFFscVhhqrO6uDgbcCmagP01nO4JwWtG4BlfbkIhV95F4PtA0S8QEk5/uaUOQ50P+1H2x8cD8UHcI3ci9OFXx57d6XmrXTZVIHPqp8EDNfEOkwKoxKnBh16BV1D7KP+w9dVxGalZfBpRjPFcmQ2XzyX/s5hHzhPUCedY7IL51GR4jOj1Rtng+dtGZ7l7Z1A4uuz6CW1GNpeykej8mHIEb9K992s0+q19vXwN1Y21LXp0zFq9uDpoo3NszA7Xqnw5/bId8rgCTdwk+pU6AcfKrcpdSEQ2GnnWOeQSEzOY83p/1jAbkoKcFmxLqx3j8BeUYzZONZBUGEE7Y7mDpluv42fTa3HB8/0BGuZ/qL5rZZMO1mFr6fP25aZ57KdapHQtB/oc/cFBkLgZuQr4GAEsExO/XV1XEvepHMzVoqkIOIvx/eEhGeCKgMSM3rqry2YzF3qoY1629x3linHc2si39F27/qL+5mHIhWZsfiKAV3Zsyu9XbsqlTgss9ZX9SqraXKvickfeGDBC69ROnV3Goee9Tf/L89jp3FbhpENtxIQM+Sx63yejM6OavlTLV45YKvINiBy8TKarhSdoSdk89CGdrwkdvV9MGauxXdVXrv0XIw4uoL013/MjdDfT4LJol/axWBV/vEXLgTXcc4V/2bEp7QHHul+vJYfSZuJqjgYhxi5p8PQDVu4RiGnI8XON1Go55YhbFFOzk8D11qbQ6jvIQSv5/Rm4fbbmhIDb+5Hq5AbmY6ghaYgBBywcOhJtaRV1BGLNwc5zx9xvm6RSFX2axHGOi18OZc2iUpLIY9t3R4KW2g06KOwLPpN6QC4hJW5KwFcvD3jTS2Cma+eU9iasGqMBlCJSmBBca+h4L8jwojUMkhfTW1ysFqfs/r01TKDYjOFg10SzwQsrQT7DHJxi1Gx5VdFhRAZOa+mE9ZnFP/4xk4zbwuW6pN15PMjolcNTtR7MUR8LBa4TtHMmzP6V1sjx8mksP1t485H9im+nUl/3TFP2nq/SkqbvOeFuP/rUi/Z5kU/H0LfjP09tX3W/SEFLVRl5EoMidWPyE14N6hN+swTW1zTWRDneSmIX7Zorpc/sk0NHw4OVjY61U5dquMfTLwW2E6atgLgzLztMC2reM3y0GqiKwrVIzjRu57KuCCto5VNeGHsvKYZjZ3jA4QA+K9PPeb53cJeyll2tVgDbBeoroBRCy93ktf1LJwBV0bvtSC66UIUgGFx6E6MdgaHytCqyNASbJbJjCe14DCestMUEy0dIBn9b5ULYCJ4hUKa44/lm+eJXEGeN9CSnfPILgv07yB4u4X0+humxYpMeT/iF7MG17YbbaPO0LR9dh0io0kKIkWUAKhwsq0hVCjQRftlricbCG+7/KOvAtp5zbt9tBCF7yTzV7j/eQ2g1WQ8OopWd1mxShhI7hsxZg7vJgu1OsWbGN1x23YyVEvN/pNGkplE0WOSY8CLaRZsSnWXMXA3uxPSEuNbsJMf3hSCctLfUFro9tacCM5i476JcM9LHgDzP/UfeumEKp1WtY73GmL3RC1dC2DPY8rFYqvYHxZJXN5Nc+pvP07JnIrMQG622JYBXo93QPqOICqXV9NVK8GmRVs0PoKrRlzMpB6gdwmDuKhUve6v7gxKbU99iEKyytUDw3XN1NEVUWwQL4abdrme6AN1sVTAxuSljP9U6gVDnB4erBIvUHZirBf6fJDHsA22ntV3MXp4JqNlFvQbjzA3++FFER7bNlAzaXwglgPHeTdHNZvLttk5ItGO1hR34LsuHC/AXV5gc1ZCIvwcfPR0SEWhPAOkfT5TosN7sfikQW0TRh60BA/B1qg6W9XGWzWImoNe2CpV16Q20I7G2L3AurSKBrUuTmrdWrLoxDGEuhK8udvDCq9DKWK7/ZLzy2nWmVY/xdIwlWwrkYOXuZ0BTxh2E3qZE/zNZuv+FLITrsHYhlpIsyhujvufB2K2fUzMbiytBqelIJnEAu0ZqIYzcKNs+DhwADJUQf6kFffeiz4GHKaXEqzSzd5v6ImeBbtKSX4r+zyz8q0HkMx0oqAjJvGAYoWrWROfUxP8lflH1Fkj8Qn9cLAhdq0pBkJsGylnuQgwUK8kop0OBfEwK+yDzjUZoWM89GT1l/h69Xdwmp3s+0katREaNeH4ZtoFtpTuXx0t6x4DaxDIobvbJgNnSZ7pIBXduhU3ddZ4dED/w70O9nZCbJuF2t/z2evEnMGq13bMCNlsE3RqGGYi5Exa2ltRB8JWMgtV1FuY/t2fl6TBzCrdyWFBqRwDtxNGC0YlXc2rfxZySfHe/cOqoBVuLggsYSaMjLhwOJ9W+bGYaZa7Nb/PVU6JXVMPuoH4Ev4P//MYV370wMcBsavj0CWWBTHAFrY+lRfGgUSZcshOzQ/Y0awUIqwLc2vtST4CQ4rVE5gKha/O3LYHTN/t7LRxwUw0GXoj2h87+zCUbM3KYK0wWbemcAzeYTyHNeyuHm37lTvX87u3v9MF6o/Fus3AGQDAbfn6uHzX1El8QbTQTV7WCVRLguHXhkBeS6bY3li7/l3n239zrn1kMMcUnEhgrlMsXc7m5XNgF1w1VaXrP92pgAmGDCgajqVIvs83eRKxwyT+S1qkBoaU/fESHF6Immq0FeFoCgqGQyH07mDroas4M61s9JjQZBFxUUzfVclcvj3SQEO8dZk8EsiNjyFreFdlsuh+n3MRu8hks01X9hp034rphQkdrrc4jhLdbLB7RchHcmu39b3dTC7QfzCsgJH14MgBRObY7DbPVromp9kYQ6ixaK427jF39ckpRX6FdSSFtE2uAOfgaGp5fx+OPq1ay2uaeRVcgVLp3vyW+++MyqsFss6TXKzdHqcAwHLF64KijCfBK9cGFEGNbjtDY0bDon+y9g0fuEZb7r39PSC1Wiu/9NiWQxdfB2M4YBY94RNOyU67nLCRUWI5CIzZ0OGLPdUNatPUzYmJhxFTmyCMPmtyUO2ZyGjwPBM8W/sv8y/gmARiqpgfdvnPclZjMKm2N/7wsLCYkArTKUoXhWxxSDw9UG27um5wNn/E1eLkPBcnhpJH844SaHM4fE80f7m3RN4w/bzwmXjTagg7yoNb/YX/ZJUUHgA6ElPh10B9xUxeoCK64fQaKk03kWXzXmP1rQVoPmIL9c7UHIEeFMVLqH8J3ZZ0avpYjEoyHUSEj3bddAjuzjqUNR7jMLnBERekmf3dzNG/ou68ujl7KuaBIq2oetcF8sCAY7wXHFh5Tm7u2u+6wHUILOoI/ZhH+EY28vlALHrAUZszyz+g/U2r8PEfyx7DonEDSePqvu6gVDteDo80UgYTknjmtjNHU5P47voiQI26UXmKUKsT3Brd04PCu+SB0TQrA6FNfJgzldeCXiPo0j9rgUIrBA88G83bc6YksFrP39MRRPV0KVs2fSZNR8OUvc0yhJYz/zpEBvDKgvi/KoSVhZbHqNTVBRfwpN/CDiwKj2hz6IgdVAd5rPDL984hBp2fP+pkjEPAkk6b8AE8NUXnhbMTLuhYlqeM2JK2k7xz75uSINW3bB9XEcch6GlJC+59T5DwvJIkuKsRjXSzTGxNULVZ4RYsmPMvV/MHfSWKMBtBQDdbdzrUVoISR3XBJmX56ITNJa5CEsBt2GP/Ss/Zq583YwsHSHhgUC5EOUIYz10yG7+SFgCWF14P81iWB+L+NukMf7HlUh0t+bzpCqzRkCrL0kKf1ZHKqZg+MqoL5zMuJbd3c5LniMn1C5R0Z60IEO1FNGO5stXGclpuomIUnuUX/BVxTV53l+oHU1KMtK4Gm56imcUA4t0yUxAdnTR4iZci0ELJqOFhTHD3BcfoNnnb9OjzGGqdPX72F4s7P2L0PEYiVnkqLZPdu21/F/25ERFfUnWBgpD4hdDbf8R/7wEYEJsvl14VQv4stf7BaM8LKOP+Na2TLE9FAccaiKzY1nABJ8J8x9VvSfhVm95rDvgJb+bdderFQTCH5I5Ig1yTNUei6SkVcnPM+aTz8xL6Q0WO4dYHwqe0wxVyNlIjD5MbxlpDstyqpmyiM3IXFtJczWVS1o3C+udRnSorTTaFCeBhuACRqttM8uqGY+LxWreV+hm3HL993msXVeekraOOF+ETLmKZt4xFDOO2X2xfMmyKj38TxFjpMGIfQ5kZtXfVICbb98gkt8omGkxM2GVv7RMX+VkDa4NNsnbj01Zmj1SisZg/krwRtTDIR7KCR8WPuJ6deD6tzsUARprLAzCIBz5+LgUR/q3K+iTpNMfuXxh1krMUSb0yslEk45bM+t6ZUDf2JIws8IUXceOF/AjiBJOd9yPWAN3Usf4yzaylLMSk1NxDMTRG2O2uIc8yLKpbu628Rkt3dV6z1eVkqbAVNOlx9e4eA8YEn+xsIBUCwmGXreipOPF0yIdW3ENjOeECe20SgF2Utaeqs2gNXWG+T4sh2KqUe28yCETEL99hGkmW5yrce1Nef4sMP3FI00aE/vjC0URudvFWmRl48yMFmAtX2LYO2hTXCIjyFoOC62nse7g+yLzPbGB7O8QUbi0e0kXRr34U9IBpHS1bZCC/Okv1g6xfweqtBK3yFbGXkOaNASQFhoe7nn/sFqYwXC1itUYnjNWfkytd2chyS3eV1Ieon41QkEdzZ1edru4dO9ww+WI5OCQpnK+ZSNsCdrnxJotv4BzUPCNkgtupl+Xtrq4wRlW4MGi2KHPrp5z3YyH0pNN1RO3EI8/gY861ssFskgqnzVss6NW3h9ibuanptlz9vHLHUfiG1/g3B07d0RXKVRNsfT5ygXL65aQUEuVdAbnydDFEJUvANtlNg6c38ieTBRuRcmzYhol+lZj0VbcUCt9rNQOeTM3KvMRgwKBZ3odeihQ7IzrFHpTB7DJ1b1F3HRCaV2YyK9NoDwyHnGAwCEe4+vFX5VcdVtB/qreWT2WwRE4plzYJRC5cDjotfbYVmcKwC17XIVHENbrrM+QUsxejGg/Q2o1BUXBHjPfDRVzT4MUC30szgM0hi6t7sSTkmBFxF9y6vTX2LQbWrlbA7hBBEpyyajcv2UJW5jSgaqJ72YzikR+A3fP3Pa4ZD1wnIPt22fMZH3aGTOwsvqKoZYhAj1cf7PKmA61mqT1pfUlgOtr0Ob29H2zQrECA0rn2d4mvB3UshKDqH0S56lomzrCT7SMksY4scQKA8XcxiXrXf2MyTAKN5tFvIPqxDF8RxvOyFp8zz4buTUVNUV+rFQudLuRbDgda5SjeEZKIbh5I6w8HMJBeMiTxEID4IKyVXJc2N//r1CClU6JK7QgA7SStrF4OxjRWjbiu3j2PjEH/zNTf1c15HSmwUWf7pAd/m8dvdSFBxc3SzSfSV/9NZwaO+82WwXJZUWXkdiJwlj47J1LYXWreZOKZ5cctoZ0WJHRuH7sQZ5PKq+QfcFj6wt3I3RRnofaAf8O1SxwGvLVzAOmg7N9s+vUgB7oac8jCUQ+CziX/tXYQl+R9CpsvdvJZNwTU5mtVIQ2CNDtozmOWz15ibR4e0zCK8q7KkAiTzTwdOGgeIsrqjWpYrMH8sh7bKGc6tkcOFF69MXM9Z3pr/eCbcV8Zw+Ij8x1MtIAaJYlYqW9nwrNt1W/HZErPpGulNFCWR7N3xH5UjNAQTwcGID+5rge+o5f1AT3u2r6bIYEmKVF76gTAPB1a087UypmKuI04UmLJZ+sqVJAi7xRdIBMpbLEox0eo9TCwWP35N+kjlZgAhdxBMUvU9eGOZl2+DIlk3uUFv500uFToteRiwis6eS4NZ+sDrEPEuqn0o5zVn2E4ygy2uoCB4REMKMneDVHTvL7th1En00V4UrPfywOV9f7rE1YDg71V36H2kHBfDfgdT4ez0LkUYebE+psBKUuUWeC03lx5HJxe3zxLKvlQQnipRhBpNNI2zgqodR5J/ONsT+/94gZspHF0sjnFfXnomsQptUDeQNrzI2nYGffWwD8sBuygYyTV9ENfDLCDGuWfSl8EQ5RxQ027JIje24oGbTJPVuYWx3iCd+mymYuQvMHxD52YnfxhH5wuA+wCzSum7rKco+3ANI2aXZ0riu3PHzpZzAU0YZ+Nq1ES/6UvCXW/EUczEIshDRvEedCHhcQbteOhIwNCMxzDf5lC/p6KQSttCvTBACCrPyX4Vz7Lu1/mP4/93euh1wf34/t/lPeLoylIIcC8BAh4+IYooPUy2ZNoNDYxWgrUyvBQ05ts83UrQUad5+CsrAfC7ftVZesOJ742LkmohxUe0ookSg9l2ZbRMfarAATUwXiWu7jsCAUS+dr+PHjtrWujNYx3kYhdxdYQX6C3fr5j8jn/bvMVFUwtpnV2vjg/x+EupbzGwhfL7hBSnyDHT8i6eKf9MndIUkyEsGJytrz9eIc9LwWrbR6jMv376QHAVTg0pG+JA0u4fAGBMf65Xdls/19hwtDmHn6Kyogr9phYeGI0dlmway5SAeAR0WkvaTh5M2eVqZjt1EkGdfbLuQxj3gy1M3q4eNLZO4SuGFEM4mn0vtZCjaxug1/6sDSUHbXzksUxjsXfVJUA1/GHQDBgF9ccFAJMCup/zWXKO/lkRtm/ZB7/ZbDK6GtvrVM8qOIgmTjJUHOMsVM4MWosxtzrrvaGE+HtPJud3Qx4Id4McHKuOls9XkflASYBsCeTIh4xShtE1k7pwIDtlq4/0cL9q3RH4E01l0dffN61bCkjdqYE2xT/8bEQ/t9i4LqftdGg5YJykD1tcChCrmpniLf1FsqtGyBpSInIr+hd6QfGpWpwROx8AbxdWduy8WsyjbdSuXBkBQ/DVFU5fRgMexyVIpd+UQLea408FNmptLwpEM7UeiAssQM2BnoGPBbL3mmbDwztDlOwHQfHym9BpPrNblbTkxsg1UCc7TRKeDM9iydJW2NGVP1gY5wrLHSGIO4E89AOdeBexqaUIAMDUebb6ksk4j7l8vShBYU29H+MRLRNYGAKUNA6qhIoRlpLsJoup1rGUltPKKN2FwHbBp5SkoNHLav0T2cgUMcd4T+Hq/uiSvSbiZNoe4twmHSgZxhlpZ9RNArWlAIsIpWtZuyBT7Hr2TcClSd6GWxQElbrQ1V9P03o25A0dCia1iWgPdIfsK+NKFwB//Mv8GJvSQAo9oJUeYJcdL4izMwimGNFVLyjsTgTsaEE28/FpwU0Ey8217RockZiot0ymUqwxhR0oIz02BhuOir59j6JAqZAuPBJoUz60wypIeiAfnjCVITl4Oz2OHLB59UZFYlxQWmGDwXa6VMXH3CoktITeMGEIA2oIXwzN+PX/qxVK0Fr58M+HVigynsynoY/hRYlRcdX0RdEahLky81ZVSN6Tn5YXL1KNlyIHbdXZeuZU4Li+XqyOXCaE/A1XBjIwHcD6A47CYBoV3LOAdnwkujHBh1thhhwJb5f5+RsAxtKF4Cz2ZUUoj62QRAfdovSdCIwGjUCAtAUXAoFkOvSVZPcPIuQ6vkint8JOW1cQLXpKhKpHNEcKdLe0f3Ukno/Vwoz1TN+C5Ow8HUbd+bOf6wA4+5Q+vYEJlLLVdrmG0HUHgCuGV2xS9LJNjNPwlZ7P3g45LRYdlsNy0/IDaCZVgHWTd/cwyW229BgzfKKs0r0KILzASQjP0CfuKyPMMByY8mzUqof5VlPbex9sKV9jCK1oa/6ReQfzrGRcikFYwlIoSS3iusngP5ksucpnRXVBbYqLC/QCBXKr6AIFvUWrNX4mJUtXv5SS5bYJaDpJEtAEem2I5NIZRJ6r3oV2ns1Y+2LL3f2R9GXrh4PJllnprRGOJ81QEcdJB0ovqQXEkBujOg6wThQQJX7yl2vdzicKdOJ6cKmD5N8tWSoI5BGFJw2BLcS2tWiI5ExnhlyyQrOkMVEembRLvtIcaF+UWc81/4KNpTfAOh3r1GdfSavV9WO7aBmVxxYginQOTd+q6pBsp+NLiuATM5M9fj4bGOrjJRT+h6VhlLmJ8l8RgUXUS4RslkTFFviX791mH5bStMiVFt1K8Nz2eRTNfCS+rbENVmyQbA6WUL7m+uHQSUuIfV0Pyu3JTTB/4R1KTlvZXN11fLRlD0X0+GptyDcuBtNmS23WdB6R72FzclCTCKSHxab5UN3oLJ86jmkzVJ4X+Mg9hY8JqV5tzTRfIOnAZYl1WyLgZrv+VYuH+0EX8h2Pgd1auuEofmbyVCu0ztWcf0V829uyXgOEmPew5agC7jzFoIsiz31bIu7EueJhySQ4v0KQksZs63twNqNzq6Uyb3nBuXkkU6yJrYH7Xc8EEAydzfCM0CdkEbXJb6Kx5lY9V5DbHaWZY+vhPXKwch/TfO4N2y2d5LXFq764l07AlBoD7amPK4T3scTwuKCb/x9tp6CUK/brwBeyeuPZhwyvawCNmBHKFDVb3AVA1yjYtZS5a+ppmM/Xnmm5E+gkbw0a1zlx99p0NbhKumzq8mmdUE03hKHCk/scvLQEuP+PQd79c09YT6CC8+Zv6KL2dxIZAQ0Y9Z26qBx1OehLqFfpYYZ+Ef5FaV7bukuZ4piI18Ei77R3zBlunYp3XJBS99GgXU03ZUy3YlGfLGSAx7P1iJIi0nCRFFbcXvZsIDF+0grA4KZ650I5Xvfox57Onuum4CUU9bBY4IFsiAJo9h6V3+FbA33yWO+sKTjNDqQjXznNdUmdaNoY2r1Zp4q4KaWPsksamHY0Z2wttKiJ0YmifQyWREWwgwAGttBtDh3e7J0+nVU37RUxr+B7aPkv3csaBWU33gkKKIq1SDLg1bH2k6kyBkzxXVhKywCBXgM5zamsOFz6vaMXIZaNgeVyBQlQlk602S2KRLvVZZ+L5hq/lsJ21tT/YGpc5EybSa7bZ+pS42HSFlHPn4kM43HdoNYAMrLJHo5nTaXcC6gYE4nxWr2P6tcxMc5V0rY0sR3x8nJWTn4vI0taSYu6dGqJ1/SH8lJeSXvqN86Ucx+T0Wpj2z06zBWh26EuVAsC4Nk9FgVEMrLsguI5G7TvnPBaYji+BguWdeTb3UhWGQp06ucH/vNWuN422OcKC5xBE1Xudir96kgs9rQQ8goTNV1UaV5+K+Zt5hNp65ruWJnNiAehEGcJLiHgvIX2gva2f4Yr/DeIWh4UgZkU20RNFJXGuBDpCmyCF1oT3cgnnpnuFh63mwOA3/ngQTdgA6oxyx7UOTjr1z0dl147aFLPzsUAbVJoBs6dUpWdqMmJYzKUroI0+3ipo5nRRDhaeeAIcmOjOa6f3um0O8jNSppjjv18ssI5EBRtM+iJkiI0wlBXNYWttBUBwb4q6rL2U34cMjq2dOoYa7vSmqH37P21Xd4WXr9lTjGxVkfkEbetiwvAQANQ/9CYASiF70LyVOfTxawO/IkyC2u3dE+jBudFYkWasNcHKzNr9jeQ5XObyfcUz/dvua6rkqg77Yt3l8tBgKNDsEyLP4StIrfzISySLQUhtDf9jX3myPnqDsW1yuV/G3tXW+lF5yrrGLLvvZdCbxRJ0vlt3e/YHhR5Xoi40YCB6JCVEqHLbamprPmEZbbcklIQXdMMYPnFsG5YaKseI0mzSdQOJUFaGZVS4BK9RIV93t9jpFaC68fTOVeft+wdsLVZQwzGyT8nzXtxKrBEIGxfhuzEFore0cyYEGit0eMN/G+bcxJHTFjjeKKEBClfou49CKHMNc09RKWbeLG6hUxv4DI2gqR7SsucRVOAl6b/+IdD7+JMYrzuNc6Fem38cfukm7B8waOqL+n7T/rRUIyG+KrRa4qdQIJoeY6HxL2cuWQCRHGwV39zVukmz58SKVXWPqNDxOc4tSTuO2chTnN65+0hVboE5M35vDmu+I7rLcN9k0GL01anNZMadf2wFPyWC/VZKz9q7YtW3gYrnog9YK4h4FzXJkTyd/lV3tL0gNjhTSallBkw/lnACG+UZRq4Ew7e0Cu2cwuxT0ENv06rjvrxK+IwCu8y1hWvK0/anj1XGaoXqMVztvplcJSKPRqRwI914LtCRoTKj5sTY0GNYfSGra3JszreKonMnsA3pp4luNXHlizAwQkTb7XP1l9eue7LfoCeN3J2tUZyOgPoQvBspdy3GruDLAXwBe2Zy9cn20oDXY3qPIAfdyLeDl3gXpkx5M5H7Lk+ZHGpO+KSWY0JwLwFLTe7AtQ4Y0zb0+SoDtFh2b9IAPJ0N/j1BhPInmIy87HWmk25NueAyW9NQc91CSOFFotTtClGz0+E+ulrpYZ/qJHxO17eM0yUMokAqPRhVSHqDcbGK+H+5O2B/0Wp7uSr+5SYh9i0snN5qBiItE7lSah+cs2wBXcL4yyA/hiF73dWOJ05vyu8j/Rgs9Nzcem6XTmV+gPj4AQjWEPdIy7RvigSIUsDd5IJcL4VJcNs9GcLCmxPxsK0QpRCowbAIBhtPcDcuEax+6uBW9Y5yUSPLvKVEBqpcPWaqw6rPfju8PTpmuXcTLWU+TALhJdLb77c2aURfdIso1WnLKc6nR2r+6X8CYbTgf8B1xoSfAPK5rv8Fyc/+zQ2J467l4eBVIXM2JUE0AIXexVtLduXR9WZyyv8lzbIHCSvWrGqz9VD0COiFK0u1ZqBIJtpg/NdN5YGHNDumRFfk0FHqyPOhKUg2JnHfiyRDaJNSoMxOIAiYxdbh8e4YZdk4c5IIWnMZbBZeAGta/rf46+5F6cuMWUai5GdtUvi3Rq7ZLJp5ywxX23b2BXevpNEwDCSu7eOc6JfDPoyaebF1tsnFl2r1Ohbfuqsg/G9V2Jn4PSg9N+pUS5x4zOxCTTtuTeDCzmfYGfX2mQjgraPoe/gPLFKE56C3or03uhYHmcIPDlKJLmoFqidrfGsTVMt5pLUqeAUU68Xu5bklo/vNV02vlic7PSaz5hOTS9WF9+wXCCX3XUUFQFuntEwekoEhmj5kN7kJLLINYaBaa1F7x7e1JFqbYr3eVABE3c93zvUjF/whL53BD4jCGcSqSdWVI2NzRr/LGkZb+bhMvIRg4WNpzT7SOj71vm7p+288Z9cDgoHyl7NXLuiF8JkpeACgHxPOLbjfLx3RgVpOsO0CiKzw+a5V0WBOPI689l92bP7yXHC1ZM3VKtlN1eu2bHbcADdpWqOx+u5P75RPiiqOjPbb63zU4Ud6qYqk58R4Lw96oNAMZZfwuDjBsAmbqw4dgJe0H9M4T5hwkbqMHD/bEVdDSZDfngZYlpUhFNgqTv7IyC1w/VFqnMfLrH5/qPDeErty5md3O2RVTbDSexH+fuHLr+XRyp8OIpW1/ffcaR1llsBGwZvi7Bxf6RZiLdeganw3B4ItQcOtpK+HsnFv6gqG8QzSjOF3YdVA5BAKE3zIsfD9RbAqJFbApn+QGd8UcyaF/GYNFeLb/Xbv4Lr2JKZEkc6gOLpr9sDNvuM6NKwhRWxKLBxdEV8ADq5f/KzMTpHvWLkrOpOhwEFzr+ZVINaWz3vdCc0FfMve++anzoqvo8MZBGP6L3p+7+CAr3HAaT8JXcbFum+8Fz7EWOtZMUvHAX6W5dXv5TGDsRjbSxaD7bj24WROyKiWzIF+6yOxBQy9p6NUT6dFWGFvCdC54VjD9RxBHO7U4InMBR/A1+gTQumzrk9Sv6ELQtRMJXwqoaF71emJlxHuEM+QVOTsYJ0mbwASyaU+S+svUb5Kv96iyx35d8ibdmgogiGdB7Ppihagd3HWoxnIEX5Cdd5Q6vIN1Qr23C/3URhp+JZamBDZwUg/J7KA7eExnPZJwlJlDBqDbApOkiRHAD6OMX9v84GY/eEFIowEEabqqQ+owToAMAnZValoZxvMi0EU3N+2lgGaxsj+e9qb3c10wvmG6l8kSGaeB1eGDyLh9kt07ior2IuUDGh6IPmW53mW/bZS8Iorz4jO7o3BkJMess9I1YPBH87DduiDtUpcfss+52MUpVufRxQ5LRTzmEjBBjmjQhau9/rTrmUjbiSCAhwXwhEZgJt89L5Y0fvW5lXFeiWQlZAIWK430EYYe9bV3Il3XEMiRty4dUlfluCmUVJhOhtKmAeiQpSnjJXNPvcAKoSjsYa1GuzXGUkZ/6xy3N9Bxpp4sh3FlyKNE4UJoF27x2MeE3P1a8ZZKskki9MoGND7HukutRbe4T9RAvH9WZCK4R+MVzP8+E6fyBv6qbjEqcNZCp8sknIsl1eMievEG3KPfhGBFUvCcSE6qZHY/fRow3FMeVeSQ0776uvCUoXkOiuoCAUtl5i/WlMosi7dl70jCaDwx8GIbP01/82qSQPHvH+hcSvjmP4V8tXMEnSrSr+kCOsCAhnA1cM0HhRKVUMZNoqt30GzNGKOixQY+N8Ejqk/c6jCVACXxEFCgjll3JG54HsCRZLQRFizoZAZSGnwyqW4m1n5R+mb5LH03gwwf/5omf1bBkuQ2W4ZHKXlpptte5aKqemclZS28mMTbGUo7YKKrXzyShJACtOLsc4So+0vmjJSDu9pf8ClcZcI0yZ8OZBQCKJxtPIRMLT2Anjd9sUhNhP6o0MdEwWwOsSQmfG3lmjwmJzY89oi77bPszq5PZEeFwF7xAb1AZbFPpfHGlmdLSx3cbpCTjgHirgkH0/1qh9Zbxt4FX1Yd4jf1UzhSus5THBFa3zNeJbJK8qlf7SF/h3lEXDU7/z8CCmnFEHoFaCJU2kqZzL2HUtt1aedSKLGYD5snhoN0hGdiIfc2n1PuGxHf599M83J0xyteU1OSbQPjJ1yM7l+tr0Xr44T045JiyxlRx+ha33ZYN5dpCwOvDzQDGw4K8fjnGGWQt6/y1h6RtxuTvinD9jHZrSsOnH3lJ0itcv4MRm1AVYfH/GG0q23ETUwKceimiW+KFXuPidJgKIADLrZT+QfNu9VD2Qm1wu5Xs3SsaVdfxJP1GZ/Cs2cmLR/qXqEBND46ZzuzCDWUS/p674h97oQ6b2uE5RIqoqLq6zljOUag8O+FOuSFE+ap/09d8nxZmp+C1x3Y38r8KYARkpt4xfPJcLXOYCn+H017jzGcfedYSB+6yiJzuJeoyO8IQvTjT95qCK4ZydyWDCVk6oJYA9GGkRC1Hfh0azT+FULIfXzmZFNYbXnUMAEIRotN3SDaNlqZOjeDKJaRVKL7FOp1QlhwgrOOAT1KQZ1u/vSe7Qp/J4SxDa13Spo2TcQAcW0gQPsxOIije1wCDVlTz+nYP0r9PTBtfIVzfuxQvj5SS1/tMlzLGDtq9lPsqRUGy76iOddDuKbWQGn722lmD/ddSobtGkYRPZs0oF8NwVjwi6UTOerSxMkU6xroxfvsZBykKDTtTKlGj9C9jgWPmDnEUl/ED9hUp0vFch7Cy8Pc85XFB4tLLdorqngDZrWLo8AgtMZVfk9hHpzxp+ho4pRygbhJqp3Zu+ZRBzkur23YKgpUGNHuNIQzlyo6GwQGkLnW4cyvxXJ0qlUEOcBR418LJMfoIs8xeRjrZ8F0j54s+e7U7rZZPeSLFheYUTgc72rJ3kRbgHlQyzd9KEYwaUzl9aAbjxh7nhqzGGVEPyi+Djeb++IOQ9k2/tRye4CAMzhpRbdCr2br3CIVWkYDCtt0MShBRbcrmY1cfr6HHoQp6nTPHTslY1UY1+b4WgFy7L7iJvDyvjSyI9J8JweEhN7wnq22q7bKz39Y4iDDIxjYp27IQhtHexB+H8WEtt9sdnu+76NyQKGLjW3IqnOlsdAKzW8dmaYY+fQZ3DCRoWZOE9LGQlLPYVWyel0caMvnObYTRbEfHvkkuxKjCbvdvDl7iHWSP8cuZNavpxwY81Au19Zuf4VwsdLsxx+cUQ1iRqFLEivRpqBhMIcJUKOh7mZhJDpHL+r6XJyim+teo6eT3PTA+sngEuk0vUEKY+BV5my9kYTMt0hFBFiwJCfpJcug2S8pzuwe+kJbxACbhiYj5Vf8Iadc7TL0WkeyKAZhdOpyd1A2T8KSac2teZ70RTpybylQP2x3VI/Xl5fUHYUJufEqFAecY5nqu+4jv6avOSdWLP8i+JvQHn5ABst9Yvtnpp2K6la7aLFLuNiMoOrzCE5vfH8XpCIKHcI+ybOrGDOhR+LIgs873p/jEeHThn9g4AAngaIzc2tUFV9ml130gPBeYHg6GwhDdvi6qZZxWZAmeKpFJm244d/MApZFM4FuBr7XdQMmRmFr5nQMdLVjr+Eli+i887tKRvKseVhxT12H6fZubYnKKLfV2LG6KRon6ulfr5nMSQ1xFxOUKNRE6pFW7fF0ocrlVYtB3hJiDQpaMRR8cmDVPRYHHpxq0gQjRpYtN/CR+RcoV+BXvH6U8AogQxTgmhvro8VFZtcS1Y2rp5luKA04ypitqe0MGl432NwIjxiCWxmpl4xA7w109vGmpEw6q4kHyQb1JK2WppdV2kGcOgKuRhUu7zIQS38E2to4qsR1EC+A/ezeyVc1qXAhiAak76cFz0bv3mevs1EE0GxcTiKsPYxugsN9EhWEqFFCqmMYkOPBLuZw/kbEd4cGHsbc/x5iFzYRm0batUx8VBQrtwmmecsu14Gnkfpb7O7lZVq0NMFT82gGwYgn3dE1022eecaQpqyqqRlJ3Ax9yZ+FeSlJxezDX9EeJNKXgXdKCHeWyqCDaOh1EjwOAZnMNZzcOYoq/pLi5dttMfaDn8U69+sFOSEBT9Cc32AJWyRpcj4cYkiT6i82iIs+yefRtfAixfr95knI/hIp9eJkMgU31PHRlP62uiEB5MepwTKczEBH7CeusKMN9+HYmIQI5EetYe/6E+44IE53VLD9PXgPMr6Szkc7UsASxIBlSv/MV3EuDDqrWs4Dcr2Fp0gBCxdfTb6i7JjYPt5NXTb+6M5HN19fdn/13fEqOQ6/AZ/FJ5hMntB54DiFOTCVChB6o/iiV42zZ/vkrT/X8BZtQ5taF6KBsAdfmiezpX4M3orNiO1AsqwzgT5ifDynakggu4Ec4afAD5wDD9mFRWqZMm+jSgMCERwKSHh3J7eG8LuhI2M7B+YYBlK0hvH2h76UDLMru5XCJGBaAeDVtjVFLX9P5dLR0z/if8yj3/CTtKP4bek3qReGNmBwBEHiIvjEezTWLFsBGXklaX7oAw841HCTCtexhLfPCB5SEV96CF4KPy9CxPU7vBNShoanyMRfg/7oPA2nTiJe1rdekGNPDciS4WCx5goHU9xPt1VZfcTJEGkWK7zbpDGulFf+trELryXlAzBpRk55n0+++QDAf09KdI/GXT7rNZDgnO6ENyojol+P9UMWAUW3QSp/OVgt9B2nl7a07haPPxnb7YCLRE3f66Ap64OnlSp35jTj1Z4FO4Z0mn7hJRUJShuEIwFX7gmfy4WE2YZVUvAaX7fE3x5KQ3KZYRC709/iGiMHsHewjKTrabAz2GwMD5X2ATqokvX8XlBQIuBCoaeugknLxMjMF7eaz8BtfV8F3Kh+9h6JjHlPLcScvkbr7PQd7lBqIe7zsjEA6dPJFOtKqFLuTsQLv7+LT9l+ltFyHYlk7nrk/BC4BsZUMo7Maxcv5lkdBe0mt8kTjaUtf68DuR3pQs+xIE6uy2wJ9GIrl+X2rKFtmRkYTwvOETUe+U/hT8MZdAyooXtIkONmD4FRYxry6jqykwREp286vWDL8rUGTi/TYW+1UhXWhT2/1toAWxqK/W9K0RiYYiE3O7BtX2J0sYduBPfkNtwkRnYCTnSmtRhc7TsCr6sazZRE4JXai64fuUrH60OTQ9VJpWtl+7SuQUHM7m8bXBlwasyRLwZDQMCQF1Hb1Asv43F/G8CswqnaY72XRi8tsXfI3gpZDin/TjNGx7rdUAwBC2j4LDNXSh2fEqzTVuVOfaWiN/Z3GPQyV8UpEjjoS60zzG9TG0/fGoKldYKKLb3QYK0Oh3iHgz+X5a/2TZoLVU4Za67pyT7JT8UK/r/XwZQm7mgLu4N7mLKuZoKxipwF7+iyy9YBeu7hyjiMtARJBjPtQbjTwhTuFcMhIr/OyeGMM29/Ai1JBu3xYXVcyeEhYuZn32gBqIy/F94a03WNzOkZna87HYaImPjI4B+vWUPLBohe+ghgA0GADNyZ+4zkqr8/qLgkWzcTLBYBYCA1OxuH2DAUp8PRjMmyTZsFX0eYPQ+M5ImEJ5qSc9aXLhYa8qlfwLt1w5BUu2aSX7tExK9gxUQIsDpHHRrf88uAgOCbWoUnC09UXsQIdQeN8YSeVUn3t/AMpidSFXl1bLu2+2mKTSK/DdYtKAxg6sfI7qU99DlWFxNTF7aRlmvw5XLbRyKeaL4Lwbvx8KFgjL9om6ZqKuJdh3JjnsiMmKejv2yRmdcQhCcEFd5lY7YUGKuVRoOUIi9mpJw1eJj6twQhbBCBw0hVWYIpvrzkWW9jWUBPu8kz2/IPjkGO19H6HYjk0IHh8tRvFXvrWhQsXl20Wije5+2xHoNz+kyPSic1d7GwHF/5PdQ/wqVRfLbRUXyNsjauZgP4qM1uuUJ6SJGDM4ZdpRNbJpUAgEF68fSkU4jedxbsFq4zbVrFsOqj3CiGet+Dvv2QhvKd3AORFb8SJrYouLghNK5dIoJlZqEmLOXLcNjL4tfVsZpe6v3EekwP271K2PdQ9SEH3AZfiTss/eiOWwS19paN4EE9fiVc1wsaBfXQqDDCIiSu8MUWhkRg3pSAExtyhA8DD1xZufx/GsrpIM/7ESbWemyDRuQ0FavnW0jwRbyOPlJwxboiiBKdFtEuS0/nPoQUNN3VLajXKlsJrl39PNrgjlgzAJ+Qgpc4qdpg1BsJaplG5q0ly1lNR/tpQY0vUr42/XuLzruLoMxpjKPm35VRfADVEC6XRu0jhRpAHjrlVu7GxhZEC6al2RNKB+zm/b5tl1EKJcq/LDSBfy6V+rbVdkSIvYDHHi8Za7vcgooWWrwibzci1Zzyj0X16n7DBhlfA/ID6eFErZcW1bHeoq80d132ZuXe++jFe2R8UFfLKPdujLuIj3/sSoehzKV8EEdosvcYbkLKCmS+Df9tjAx2V5aAMlILT3/kIvXyPEGjjCmZXB23z62oZLQMbTBhLIJzXrqY4iwVhKXQVxJZTQu2kGYFnHRQAuytBnMizTYhOjwNeIhfHtSZTrEBYO7qjt1dk7UZsFSCDfsFgqx+hZozL313b4LJUVvM+/aptecnjApmnGSTwry2J0B1fWiv/deEMDl7hh2H8scq1nvhFPnmFu2obZcdfKWnWPx5edT3+MKoN26XaBz+l8rfHSTeBuUPlzBeBQogu9VDldPbatfU/+ihwzogtz0rKryRsGp+JK/lKOxS9KvskY41xPimxi+eM+zPIap+ZZO7Xf6SqdiQH7DZn31JUBik6keYEG7AiEfFsBzOesIrXcIDn+3C0zjtg4aw1SaI+3Rknq0kHSj2Yp7uJUfi1fiAO2dYbwVnQtvl+OH75UdchS9n71iwXGdgtw8XtCFg6psnjkH7OaaCDeOHFP2rfDlEF4kNcN4+bmS7r2f39W+4UU6FLZ887lUxpcV1ElB4dEzwMZfucxuns+U2T2GN8s4WSEJZZn/+RjRla/dRqbwargayALgHtiK86/HSTDvBdlOxXjjy3A44CMOJgLF9Thrij1rkQKgssJ75JYHcCAC4/6M4KphxYEOkRzcIUyEWYYrUEv5b1jZPByHiBiJcVEqs+HD8cqHu/gtD8IAdQGYOMCetKJGWsv89xPG7q06aIQDs86ZSxEFvS2/dAWPlqzYSvxn23d1Wtk1o3NlK0Vw4806PnMpLxaAuVISOxfvMRUoMVzx4W0oSfozVPV4v4YseHxsi2yLZZBwrg/tFTJr28SASosZ2qfsQjs2rjTL7WBYoctng6KRvBD52dx7IdLIkLVbXMvTDZZLwEsRAPszkPiBWvou1FwpoOIE0DbdHX5elHkNDeuweXey2OuOSlMqVLRqedBzHlG5pQ0AlmHAeW4Btenkdlu1+H+6F2Xu6EzgcuH1u8FlKtddR4f22JNxzC3NkYTP3Vjhf2o5f/Ljw+1yk0gDfD8/xRQLSi78HvXIVxOHt3VgOtC3pfxVhlsP/VqlOsr189k19PNOngctNjMXjx9ceauog3BJS5REAXdgQQk+opSzOYCWOFlYPP1pAnCI55tjxhBiaA0gl7EkQi3rFJ6ay1KUvw1Jqgehw3PuPP6Ea0vaOcS02CNw8Nnnncm/k2EsdGZPZpNxVcbyKDOKia+CTRLvPt/AmPmIz45QKVBDHNRY2CAJgVZC0mGipQxOTNl1Rkspie84XbzrKxADLnT2ktxl3pixElceAwxdj667YMadeje7SahE+YzpXSBw6oXdx0jWUyQJQAOCQ085x+R9n0ReeRWBcKu7UQQZg4CvyLD3ouCFxlxF7mwk+gld5rvj7Wr4uSrbfvic5fjx1S2LhBVB1VvLXVNib0sF0tjUOVWcpL93wdt2OqAUK/yVTB122UfEIrfktSMdvBcInxCCIIXkxzv+t2yLnhD8zWzO7Ge21UrXuEQZ81yZPEDNIN11FJFeXccqZ3Aynmx/NPaJJfU3r6GtcYduNHODmydU7s/H0xiOW5ve0f+kbYGdhq/fPkrrTPhIihWyrk1TANhvpRCCB7eplFZ3cnsI9jL7DFgGs8dREU+1Sm2IcpgtDgReouAW4mh++L1jXrVG9iJYFnb7WRUgfyH9L8GhaxxhKy1Mf7QCWcERvRmevcIJ843l2ZDA0NXHY0zqrWatKOGwEp6s7HIYKD2wugPxVbNekwbTw1b+aZv1K795heMRuseLhKKkHDKLEXtiJdpkoYf5oP5Mknm+6kgjcDXJPhJs1IPDd0/KiXig4CnByfqPGbvFYAHIN5uJrC8n0RI6602qJkisc3+nrGZefbFl/6HXXPdR72q6rGot5ijfpZw7cNixyYc0oVKdF/Dtpch88zs2Ec1btS+MkKvPXuTmcfg/YOIU+lLphGkOKCe5V1a43LXisW01LeH3KKLBI6esDIuHWAVs1toZ9IvX12V3wRH3TrakINoysAXFlbvcuKIO+t4MIIZr/mchbV2YDNrsz1m+sMuZtD+ZCfV7/SqMRscW4Uk84hKTD88E0/T2cTRbdtj7yPNZhYWLHPWlZjMf52SShBCQ1tv40MYfZGgMkXHqAIN+o/k6ZizUiRo4F1aUXAOE3TQD07QIKFah+1ENetIeJBGQp4lIg2E/nZ6y1DTcAIJm26pB6GeZtRvL5wjToLN54qhfzootCO0XUXMG7eeoNBYtn26onfkh9Cr4jmiZ0JcDIQi/EgdkHnBFcJQvAQnoOvVZdeBLiUiuyErzPDF8kZF6LYhASq50UlrCLFWN0qSULdwRm3hq1+veJKu62x7ynTnwj1OiiJQChr0nKXJouOpvPIMPE2OpJB2P5ctM6pW2/eBq6lnZDvm7D8/D9bkQZtFeKtp/LkMdr3NYBV8occQmkuC7ftWx0Uai+C1qdWcZMNjAB9ni/4cnb3TNvNPGyy5wAoiqdHOuPcROAq1l4ewZbwgL65W6vaxBsgCaL6EBgrBXOcDWp4d6pogCHBhAhiAb/vh4IbK3GWYsRsB6ZBQnle+NWeHU04CzCYqVrFJr7WBClAhxptUZ3sYnaEfhdSZAJfutj7aXO7ufinzH5wtlr5nojiMlYN0FnquTbpDspdTtWl9CsQq+AkyipfpvzAKmgIAbA/DXvq5qGu1Xz0ZCU6CoheErzvlfxW6wsQjAdEVhagjB3DYz2UEwKO5HPrLzSiXlzqgNzg/5uzIk60HxuzWUceGlVd8wYhv70vjRO07d73jSoZgiT8ve5aI3ktrW7XWpcfKMsxtYZ631EEf1VJ0Vm9GI78QbyF+0O/DJxsq9X29PhtxYzz5nQ1jd2tfDksyjo1MzQhmB2052+efnXNQCjLGZoOK+DwzhbgllUfoKTiMEO3DITPAukOaVA3QV5cwp89LxtRvw+8ZfcH0zmeWJRKN7C/h7d+qxEAdbM6e++kVkNoZh4BOIoCuFI+vrBeKmZrHB900GsZTXTAPsx4wf9sHqngnn5xPHj4+l99zlpYchuROXtRrJOQ+8G5GqSZTK8bF8gRlq61CL8EaZVpl56Q2ndfXbgW0z+hPBVlSxtap0IbyIHKA9G8Kd/BkFcf7VvmrQDg7ELY1agnDprwwBL/ICqNCsT+Rpck0k6X40308h1OmF74K0s1MhdLPdoMuVbtqWDJOJl8E1fAg2bD94GZuFLd2+1Ql6ccmbycvriJIkmyQPgIQDLAoduUorZLPSNSz0EszFQYvKL9LKzB0cCf9X/BeycC68HglOr6ITtWg+Zm7Xuty85dk1IhD0oXdk7Eod4JUqp6SwSUdqGqn6k1km3G90nsHeNiuomUktz9ivGfUFy16uOAXkHZ3Hxm0OTooyRIuHyrgOnchFrFROPIPLKKk3gMcK5x2G4XMW8zCGWF26LZvHcjzPTvmSSjklcsFQqpZj/7qFwwXZcgEOhzCW3U/uVSkwTHChPjfwRFdrkwqbWhTuD5mE3xp59/B+30KEapmL22bWJ9PnQpRXY2whgivXhW5MeKpeLfnoQAFaXSmzrlWe7QBPmGCsXKWARvC17UOEJ1SQcDbDQkyMRZMtTYrp2bibE6ZOrXQKcnXGyL+MNBIw7cXl5Y7NkEwd5NXsls7ckF78kz7biTpAcwEMLU2/e6brMOD1K9MRWPPjlJ2LeL+5X48MPPQwhmJxWZM/TurVdZXdAOcY6DQyRUjuyTgDnrfnukLtdtr+BUJA4fmzzviek4Q4T3ON2LWUFErCPXb/boIODBXoJeyQHVBQ2NtSg+HxYCPxSZHj7grwkvREjHP1bDgSjJ+Z6T6F5OkNGtRCdA4We9e7JbnFzNNvvWekl4sN/eIppWOc3I6/ZKrUOCrySo+h5jlPkIiX/Yz9QYIrRX1g8Ebo33FyyC0fg9tmunOO+oN6P/6M+ikiDOf/d/bkJPjEqfVgaichLUDouO2MoxQumMiuTtYzFSD6EasT0KsPx5zOpMBvQEyRpK0mV8+XZex7kdcxJuQ2T94+8VDbb2cvBXl1HtfKugJnxx0G4sD7ZjkLma7QyPdHDPVx/rzSBVbnfAeRt8l8rmJydzA5rP5bkR1hZW7QZ0+XUrvO1QDJCtZMZk7x5CbfDooWmXFaUstZ0DEgazuaxxw940u8A6a/qBeHftSi9czuwkvWG+CK5wkGM9tixQQibgw31noNMRAd94c4GbmPm+KzMF+Ng1ro8GbaQIFTufSVnZX4CxHcn0j7oi9LqBHNiDgElw3I3ZArfdYZKTNOe7uL5d0Ctr3ghZugMnsw9Tyaw+sptN01SSmFX6ipEpJtNL789wwrQ/IHNaw63iXNmeaJbhyuk435P7UdZBqRg0blx7cYdpvN+NfcNYGDSHGf2N3sCWmZg1UWoZrAhWcqUWYCpwcy7QjnV7FTB+3HZDFjniDxQdQiI9GrRSilwRR5jcvndl34sRuYXUzl4DyzUZcjFiuMVjdIT/zaVhLOI5VMon2DzLWycpw1erUirakpUMrhT0jIrY312yDceWzdjhjyhB7tqMh2EUUbFi9EYZU+ABTxO3TkZZrfNd9onZ02Q0s2+X4wwU06W0V4q2MYaLtJZvWmWiqxQiMhDhJvi2PhnSR5sKNpdmUPZK6+TXYFwzZhl9akqrQ84MUW4kNePc81ooFSUfD+OrMZHDydsrY4uJQVvxkCxGv5P2VFYgI7GFLcFgqtba1gYN1ON6XMfzMXOfjxdfoNcUN8IVGHE6FOU4LMe/7DVik9iyNUD1O52Af2vF9PkmH/jgwcoiIIRy/0BdUPCB2K6Xn+xszXbzMR9fqNirxcO3pikJmQqEoRvYePhwAWbFz/xPzLVpeb9t6nY+fSAs20KVIhibZEdkYriK1e+jvzrni9pz7YkPEwL5esp+aOrmTxE2xhbXLtLCjwuFqI6a5TtR8oEFGiYNbgBX7K7UAyFTIUCif8ITBWlNfqTWemvHV55Emk8aKETr41Yj57sBxN6axzK1OgW8pryFcvtLaCIz2sBKfNgi80VO9+0jx5OfCLWpETpz9GfxsFNv4oZbo2c2D97WiTVi400bmhoyRtii2TB5fL+IbQSrb4cg/+blwFeDxmLNGPKFfea/t1qO8rJzf+p5yoEUftlhGVPsudj1X7c3r3HzaepGcL7kFDxPifemSYZs9w5vz7SeOY/3wErEa7ESnpEjAO/JbVkgwewt7RkmxwuKeuUcJjhqhv+7EuFO5Wapx0+oKblQU4YdqPLeSthqwJK3YuRDybakXXzY0LtKwh5sEWLMNkoTK/I5B2l8QxoRDVkYPhbpdQAuD8TadhHA/3gxNn9Hbe+MLWmQuPKLZuN6MRuJKpIBjpiLkLNhglUak6w6iR/sHbv6WDJ4iB0UC6RKAC48imSNUF6u6OUL6pAdMcXazESl16AL3l+B2jUVP8LU7fYmwDlzwbKQYI1Vc46H6igGyZKZ8hJByTQrt7wSsPl7wfILSWk8fEGJVnrz8ZLx6iEYcG6+9kXEATT06mN2sLXw1T/YXmeT2ToQmyCqKJFzfb8/Sr86Ffpw6IdE3WU+hPIul5C6u6ztoETNO6LF4gHM0SATlRa9WQNDAbdq3aWlwb4uRAsnRhexJ/1P0iJ8pIuZxrEtw+r1NchqCR4Ae4Qq2D/RE/aiKWUzTRgpoRky9EC+qK4HrVVxl0L1RF9cFboQx7dblkByk/WFwDz/kERYRDZFiK5LK7DtImdhWxSc96kIrCpnnyaBScAdmULWmbOUn7ajwGDK5Jw5/0IOPGgqIY4mbuU4P79taWxmZKCW4PE+QIcAIM015A7bs17x2WzIyOYISh0uaj9pCWJt1QiJuyHhkJK7rDeEKt4SW8ISZNmA8LESaYzdl7sdBPZa/PBAQlRuuuKnamA1/ImNKuMRvlZdYGLPQTcUfW9IRvBoArzBc2L1Db24gDmKETO79tMUBdRA7WQZwIT8h5KqG9+4qMTd6mHVHDIqyEQecwN37gS+qH9cmrbrzJ/JAE1b+PhIXfjoHwwXhqB7XlkI55tf3bEV67uGPQrXDf25HF8nCDM+Byd28yotq63k7tskDZkSh28dSscJVd7mwc/u6AQ4qtQg6wffZup7FhNKSf4Yt6/0cuc6sNaQ92SzRPnD3dSpuHBeYvbFCVOiIJo1KrYcWezoRNFO0Fs6sdYlmQh51bJYEOcYUqDFI9hcwarZGzRfnB79X+7YFxrAclbnj6/dXXRzf5unl6xKGsmVizivbqEvbak1f1zaIohBHteY2oic/7wPlGUGjG26BnmHllpObYd201+OKwQoXBYMx1JXfcwE46Elsgkv0mApBVRkoedgvSMIxCwLUTqGFNPpnjRvbW9zI4WggR/Z9MxC6eMkTGhaDGi6SXGGiv8uVWGa53hQzkFbvwJXNWkxPABSWfytujk6eTnwvggxiWbdSpIPEWCSCLVSd1uk0/uCrtLNpOqJBMZtbsj1v4TIGpkJJZJo7sGkgczMBAy1oP/NsI8LxzC4qhyxwxBao0nTUI2OkNtw3o8txToSoO7nUTcZmZ/h21a9lRpehDh6rKGTRd6OGQ+pqEyD67vj5/yGM/qZnnLGXyo0JLDezJ3vY7ikJrQm0Ms7eRPR6eTvLN7RNA2Q8NhWTuQ1WyGSFSHc3LN+PJiFy6oQzu8UA2WT7PJhYY4G0guhfsQHdb+IZGo9SIGGXe/UkEsCz7GTtMfUiUJMCuKXFvZbnRqRy0NfD7hGZfZIu7SsoiY4NyW53PzThIKhI7i8AeVsradPX+ScIimsZ+RccZfsEZMiiNaSafzYWnRkUxLnJzBxKY/DjQcjpDQygpEZZT5uiZCBevGtiUjp/vq3WbbjxH7cDiYYOuBLEkVUXqjE6P2AQKkye82tnhlpTTHlYrv3Rk2kLiKrnCe9AeGJmuDoM89cSmagyBtvvVJDCblJiFsGFIT04obA8jkbWMgC4wdDset6O74U+J9qPbbYj5zTn7Vvshuifi0cqnvl9dOR5f/qGCtiY88/DyB796b9DTekuP3NjUWJEicRfnGW5YvjWjoQ/RK6IRtHKOqegLeDrEOcLZO0tNs/JPA3+yzqSNHsY4Ys9WuFhx0MfKosloW/ANpVRMDPJBfhtBHMME7vaLRc8ycN/4b98BvihqRt3YRCPouvfw1unjxyNV+iv/bFwfDMCU6nyp5D96g78zUeOQl5I9qRdZxCChNy1dyj2PjqYKHDTysM4/x5U05jXxNyP5HBFm+gIaBvJUCAKMfT7R1rNS/TI53VHCGPde0DtQUwTP5yzyDFJ4o+k2YwBbflGaYrYdQT6pnEyVo/HV67MwBZI48glO3/Pwq4FYhfhjl3XKwGiztxSEhjLQcGYxerStC3NHOknNpFmm3Irox5ivkE6bgXsfjRgz4MCW7M9QAZ7QnyuVYj0ffZ7OHmpwv1CfAyAJ6KAQH4IkbVURDzwn/BddN5Bu3mpnMiX9L68KCixt6gcEqHLIe0rcMjjh6CW3BFmf6bcyCs93kHBZzcXTh0emb41oe+Wa1yDJ6v3CesaqLXnp54sofTKNmiz7DWLySCttYnxRniyADt3+sb0LyZRRghuY8+x54acAovfBGixT8o+TSwYQvJrlW9oRQ+zTY/eghYCHNgcEGeiE7OebppheqqSWRDUeWxmSAL8kYQ1tK60kaa6uDzPm5HxROt7LllF/UdPN3CwUOiEJJ8c+06dYmjJSUckZqRTvMZ0L7kK4U4LheJ1Qcmh9WmZtOs2FjRBikGO+1YZuVquhqZHNt8ul/tD9bLR5SDrSXZ7fRCbycNBQZNBb1O/g0VCA7kPZ2RLAcC6Wt373472fA/DDawzlyi0WLidsfrhRSZ8IvFMKZnrron8Bz5TXJFBng4NBTFJdu85S3Fk9jWI2pE9nemXNecLRmQceSV8qSwW3RvSjgHeNn8wT3alPDOrg9i6+otbML4JgAL/ceLzbch5JkLoVliz0F8gwo8xAGsMn5lpOrSJVck2aDtV5NADfq9Cz9kZa90g6Lt2+wrzCN5ns36XdcNC9EdRQdV7uP/29lGHB5ZO1nLZOltI8DOTf5wosbwc/23DKHLaYOk4dzYr0wldwHl2oSWeoHRKvzamrRauTBzCiLTj2dqsdjWlGqYaFw+RpxJ6nKDxrwyCGDagkPKOl/Kr+rBe00RzPNLt0WJvX22CyT1kBi+yqANbeFob2Z+r2yujuZr7WB1MQKPO/o1LFyanZk5XfiDKoLPzj2pQXezJLwy6qOne8XUOv2a23kTJGLbUT1DrCVh8IwmwaOHKMLaIo5bBD6kHl/MYsfrJ6suiuwVUdovnoSjrINYbnIdNAVtfMD49ypY4CgYhkc4BOY81XncmldyMF1UF9XxcMj0AH3gqspj8cGWn5omdBX35qBvUMb2BYxE4GJAMvEK3FQLYP2wXw7h12I4D21iDdcqOCRFMdG1hf7H0CYEg3gNJJ6Nb38glCdt1ddgcoSR+C8tkZQqK1eRfOyggll7nJ5vfG4us6BJYgamQ8b/1pGTS2uhRkcNvmVVCvBfWSgK/avkaiMyO8QLhOboBbCbIGQQMvcq1ufumiF97V8GYG/K3S3fyoC+Gfe/LxNIH57K3PrD8nZqxXtc0umIP0NJyG051S4h5pvEBQLGKDko1qunNHswZOlpuix2/LggeD5KKWMIEv5rnrGTc8yB3ZXY/OyGKAsgkQjaX3Xr3DvDbFuoOuJwMSHhQaoeXsTVhWwTuvGQuUFCuvkG9yuKRIXvdf27MgwcK//fkrfR/JsBCA72oM9Rpm1kW1hQu1Eiw9eSRtRPjXPoDxQgOSAjdBjLm5dy8PpYHQ5e+Ud1OwG8e8pph1aAU1aSSygjmA53ljgTmVk1JeKbm/LzWUf+SR3VPxqO/ev3I8W7/V2H0IxFOAR/WYHJrHLJmhgz4H43yF3q2jZ9kEXlvfVDoUnXj2gSm6hlbSP6VtOOvvgpdKmgsdmSHjT8AEdZvdvh2qDOXrIEZ13QpjvPRFtC46fcn4NMO1OnWNZrawXqDJUek7GFsg04f9Imf+SVRcvH1tGA2SJJQM9MEIGzrnAHMU984XzLjthSSUnxqv1j/qGeLgZBneLoFAv0wtel7OJilooORYo+xmDg7xM2DSVLU27Qf/aILBuP6Jtu5wZHacgWadD7yeEj+kU20sc2iDHfb7tYAHngsSWJqNB/0OpHl8uuVX0+XTKtUr0ItMrYxSnqRu1dlFmYJE3tdwVQREBytwRxHYBRast7AlkOQX4LNxh/Kh+sX/D/SsnuLG9p1p9/HPNHtxZV1MFrF3BQnS7YaAUbPbTve3z4ggdwQiEK8vYCBOCcwUwpJ5s6fPVZSIlil6/IzkWzLHceMxnOVEmCDJ0F1FMrk2KuIuaEFp+xg/0bN8D3S99VqqEj6OLxYSgzSFbh96YwbOMWnhNhNiurW2V1fpQhBLwJkK4dMpNg+Mw9nhyrmDL5IzDPda2G0E4jCmxrdcFquxG0+eBKNEUL//mK0O+/8knYhFQVstp/EEkO44cpjfv/mxFw/TKbsKgBAqWCtvtSGQ7bkr6ZY8ifX372YByn4xG4Hr/D72qap1x8bo57gEQP4wBTz4AnQZfUlKaQiLC/0cQqQu0/BH8KQl/nPYDOgBBozc3FlwYqj1ESrSG3fpCIwA24ALobV2t54SyG/yXpqWbzRzIafqgmcpQwTuA3R8RoT5IC/3reQT2VeVUIEEETYjDjfMZzGv8c9m0OyYB24PlmZeYu4oIrHkxH6JxQFR9JDZVgDQGfLl9Q8XsG3y3X3x3xse5FwJ6NI7z0ddXTsHq14OfQWkAvIyRdGCslotDY6jnuogKVjX7RS7M80LVcDG7Iw7MlvxkHYXAHC6zpF26VF0hpY5vRAAOXkcdvee+Dn10zBIs0m3VaUuLV1HbUBAZLBGRukRovkZaCtN8h3J8DAVzFFRZxtCblwSNT6wfnrpcnc7SfnJ7lxrkX7RLiCccRfva3WJXy4WvjKXlR9QICLE+/egsXU6lAMo8vhzvUhqAO3v+U1sYtYv5IXq1YNjlOAA9kuFsmvvdtpp34NXgOtOgR/41/+SKoNxdUu17FazVgn9zT1v/hG8xWk36tEF5hYzu8iNABAs6HPXNbwvwPXz8ieZ49LORk0sFPxbJO8ldkVnRMOFlyRMJaPTUx5hv0Dbf/JrXOKlwDsCPZ4Gbc9sJyNDUAJSUwPsLDTl6zMFUEGcJgVBwptV7cGc6ZChqcO3OSZMKmV5mTNlUGZxlh27TgVxCGml5QzAG/zYVpncq2owBA4GVOR12iaDvxKlSltli7rQgoFm36RGGJwuyI91+X4949/tc++Vnzq2na4j0eImDR/1aRAGSOSeOXxkZ78pWq80AVmMg3vPIKUsKW3gVPS5jUsd2KLvIRNJu2r1af7mWkzH29/61j3y2dLgD51wAQDrNONOPuraBDquAMcD3ViuRUL8bm5ok2kELWkOuNONVJmTUCSUy+5wYxYeOvNxik/AtfHMlWFFyn+tD19nSwuf+H5NtYC6gedM34j3j4StpCA9t68Cedb55loXadYqqvAc9Fnbk6JBRgDGZL0uPyiY6ND2UQrDl/M+hT/AeB0bEUL4+WY/+VuG0VUeWg6jjOosgx1PbzTqz8EkpxBIrEvghAyuXlBeKpA3CYRP4GqGo0UbSwjCKucPv83hwpVZCjDiBrEr597ZDVGO6abZ5ewc6HMb4i12U8anMYG4m1gyENHsz/KjzfVQFrTy6nfyCI6Z9UUP/NfRq406OTR0t+a2iBv8QvQ0dtTdY+ZUmPnUUYkqq75rkxztQ/lgHtQhD3ClwlH0YbjrAzpkHmb28gV0dVv+9cU6M5zj/xW2blOKQsQTpw08Kp9zgnR//de8kOWrF3wIXxvGIvLcFd83lHH70u73MecxdmgeQdvIBUhAGKF3smCoVkB1xIcrHNo6xrhlGpAzDgecMD0yrtMBeq6VfqzkoXzRV+UWz/JwgE1Zwj5lRJf8cQ+EDqILzHstKEQHmhoAn2co9OuDnJz4mPvlHPkuhfqzDZSMI82nnbVfvJyDTEr2p3MaYHUfwPUorZG1In09x1VQZ7QTjQTeEy+nz1FKbdQ++j+yah2Q8IYNIfJLhzHydSslQxHVbA+1+d4in1ToctkL9iP08Y+gbl++8yU5nv06iKaGHv7/HkL2lZvLf+EO+XLCHXQyGSxCtow5Th9/mLlWiS0oqzmXJqFY/6TZDTnQS6LFvTiqV48QoobNcioTbunGafxs5EBal6qYg3j2yBD06bLuSNmA7i5iVdiFMduAsWxPY6UcQyEfe+LNdCaK7lFMzqMJaJEZk/LPWKkBs/b0/vwgiiInClWbwt2IbT6ve/Mcf7SmnpfYqH1Hfbnnqn4LOUOR3C7F+GTP46rzZpQT6GSA+GXCndCNC/mJ801vigFC4/9C1ngCCSBzVy/OiYwuSKxHDeX+gqr7RKr+YW33t1zyu0AE53pb1k0+NvSPmbMRO5gQwnFYgX8DOWyjHnvlmBlDfvxRK69cwH4mRHJHMcEwNvsZxxst1mHiN/PVpD13prEOdO125kIf9CJtHvnrnfnp5lHecHail6g6ALl6O47u8lVtno3nbDTY/bJSVIII3vf8gnbHyPcSJGzZG/BjYdwTISQWDByDm52WAcHQFdi7a5YKlhjEpaol19GuhcXB8VRk0lpvy6py3vAH1UgapMraPLKb6QsMxlGZYzLly8lurF/y8CCsoVfPaeLRV/Bz1YP/Ch9Kczq1RaFBNYvuZGJhKg2W/7oVSv+bTIGcdCAZ/InU8a1KIJxbjk3DeEh50jxSsMIsH4B4H0CIex3mrUgqoGcLJgGZDMVW9N7Bpht0z7BNfxr7qelVtywLTSMYeGycmjC6yq14dz+SOxEbJs/wVelLn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2Cco1R//8tgM6IewbKFfrGPs8NR+1R37OfbcnMUmxwVrO7s+27uDj7d/dwi3/HbIgMokvIRQq8DrFiCB5Lyjb9prYFecuhXfde0Rt7srqaAWBf+YWR35Rg7iNPpWK7hA5vGZJrCEHPDyI9uACkOuONtMhXrfuHpHLGhtGZP5SHMghs8C/B0sbgo+SgfjqLRxW63bnN5bnDluhdNMnyCvdT9YxVXCXgJaqjOG+TGgqbJkSYksI6EN/ngmKx7SkOqVHX7Df5KcXedLwk4ao+6chJ79VHXyr0aOnSfC5oCt5nJIPZW8U5AXYpz0gQu4JDAXnVGSpSuzKvc+6/6hw/FY3OtM0Utv2S+qCCoE2lOGT5RB9wbpFTVfE+rSNcAeF5ARqk2LHFpXrhaIBVIwvbIqDFKNmF0Ns8Ffb9VDwHSPQmkefxZ5mxK79FU+mugdLr6X0TXJQNaxOuAjGhPO31xDSbiC6vT6A0H3h1zz9KIBfiNuSk/38O5HYh3aF3zCbBvkEBtIct1i2iAfyku0IX/ianO8cwoX0varLlIFxDA9etgQH682EplCYdwSj3Az5TMoxGC0QPfXGwoFtX6Pc5i82vGSmaUUavXj0tJcTj+AGuk+lnncA4JCr3CL0GJSKYBmtGoUlCw5pmtPQMviMZzS3S8Vdb4298tDcpZC2g4hyFwgmq99n9PfftEh/Eelyjqyb+qtKHOMhGME/u4eCh7Bd7pP4u9YHi7K7/CEoeGDbMx7s1pw7g4/YmM+vuayR0xqhCpa8OxgopSoQ2OiBQXk2IBxd1mWKorxRcOARGY6OvGvMPnw19U9C8trnBdmyoFvkItnmcdgFBAUGFgizKmHtCWVZm9628GoGxCPXkICELmILMdO8gCeY09gYmBC0yw35NZ9dItZ/J0NSjENnt85n0vGy1K6FURGTlV1lg/Wx2NEzd0IOQCDTrqWfBaj1/cpM9Uf96eIHOac1tqoQ3Ua5719nSFXI8po+SY8DJgXwC9DGZtMxGWwrmJof94TBtDwVbo1cNoxoN4RngYF3LqbcNYtgPulQUt89A/BqymIQEg//Srfol+6pojHnJbp/TMJ0474QY0LH3y17BWhxOpYT5jhsiwoevgaTwAuWmjSsfHQANuttFx7rStp2vEloQIl5c63brBboqpOsm8kmjHLGHKYTwENsgPY/MUF94K29TkiYZ96CeScMNWtcOd77ycydab8Hp43AIk8KQHzF6fxUi0m8QuvlG/fRlcx795QIfa04rVLAN2VkJFyJeecIFKw68lOuUV6M/SDi9N2wC63NXjBw6DBjOyORyBNWp9s4IACeyyLzbVCxxIZOMP3kvdc6FwHtIth/pZ/M6D9LsFGEoCgxJczFhiaI3f8q/9S2IaGRGH9+0FiqqwK2NB+Hg5bBeZ2k40iZfdWSHNqBqivsxDkYIMU0oWsI+WOK+C/YEvltybNuobG2ROc4CFriKluFCRjQ5lRbBbUGnJ2fkn4+T0uDt3hBtx0gLhQQelv8DZ9bVGGodeyR87BQmZEuzMhc2WzcmCRXbheOfAUVezV1LOBebxCpM4h2p6gBtCXrXSibz9g5n8SkdgFgHpYRBdcj2igLKqkooEhd2HvVq8Zjqp0iUlEZ5J+ljnExcdmlEl3AJCl3yTcMwBH4FpOtmtKVWku8ZrCm/2st7OYOOhiqL6MkF9b5FDg+E+o3d0yUr3T4UX5H8rvO9Fqo1ZZuXR/qSvdIsvAmFrnPY7lG+tnDXhwsGD445h313MjvGznI55TvaepLMhHwOr+thCQkTi0r5nCC2drS/HIRrIG6jyiu9nrbtLR9B/p3dZ0kSqaqfbb9+qkJaYX94SxAClFcXJbDzcEb4HrkHZ5yd7Bdx1zQZ93ud1lT1DUp1a1ZNrzQ/7btFkAVO0txMBBuhB+rTDvj5WafVpDyjNUMl5giXGMGXgbCLh3ucd2/olvDaonI7IJ3GDkvC0utp2MnMtJEqvdKoUzwjqX4+xIUy3cDWBpII6A7XDs6ikHrajaUqlU6v97bhIxgr7Zsd89LWlREFkFpHxY/aVLUrEJz6YXEGQ3cN6HJ7lCKOgMohOd+K2J3Y0+bvTWSBvhal1SbwPsiMAaHDgSWwwUdr733/cTr0zjrOtsy//ImNji+5USufgQjxLvfZtopii7lEaz9SLd3EDFX3os0lx2OFFlJuCQuuWhvwedhgOlvLQWFuaZtfxW3qmSQaT3szZf3wkC9lbZBry7Uyj0nIUiabBwuvsnuRIXNLyXEn185zg7bqruPCEY0vyFJqov3MAj91sGiTOKzmTqzVd/I/YmHFO3j0wvIKsoQ7VSQz2c6VzJq97whPPKI2Fq+ly5Blp83GNfoC+2SI5PiAaOkupjL24uKeFbo80PPyA/xdtH61h8mvBZVih8nddm+c45MazKuWyEqxF0K4eNOLlnskjQ4cmsNqYBwDTDEoCeug05tv78R8/vD13fteccb1+qbRV0bXw68XE1Ot9lbh3SUmf5m3MmPlRerMGYx5Z0W56yX9BbanpAP4Lu74KFPZGW1zcTTqowH/DMROpWcVHHvrgBb7Q0q+/eyoSgxGEDbeA6l5ZfZjJjnIHp3obUTDRzygfNjdyzXUPxP1e1E33HMP1aEKk47uLzxVWBHGbgh7oSnQD3tZ2dg8rH0cZgaSvRFAI7wA5IE341kTWIQj1a3XWTHVKZfNLJVAQYigl7/stspPWKUHwJik+Mh0vYylvhz4zHyZ+DAqnpT4+gxmWi97VWtZnwXadaHxmPUB+qApOkChGjT4hZGLD/4yw6nmlIpyDLQsGF2TSp0ddHbQ1Bum+a/3b9Tq2P7skJp3khxZlQdzXpsE54riQF8sZM31MejMNiX3Uk+aLyxnZOLm6Qn+JaJJcNlMB46Y3icRDaJo3JD+Hd8LQ9FtTITvMdFidhUq+3id90e1cu8+i4K/EKBZfiPvHGlVKQn4W6GmnWUMq0qRSKs9ICU1yNY+lXAYPvmpBZ3OIDP9QZ9OGzeA9+r/FWSEUGGEAcyY/hnPw0fKXIJpYu5fqoQK1ovtn+S6Th6Qk2WjB/0dWv3IgizqeY5M6iD80X2Qiq/mx+DAOufE6C/9cSGh77ajoHwDsCMnjFBUSbIGKG76BDJiV0FJM8kDuQLTI2f+3fDd3PLtiWJny5NclhUS5IZLd2b3p57ng3TEY//OecaKnTmi/aMRclRjpKCZ2LvflgImejp78pm/4LhKKZnOsYl/gq6BoBkxuHxas8ZugAUTtZibsvzx3ZueRmJH9SCW9pX8TmfGY8ynSK4GVCyeupho0kA9JKZYTmJOLpGbSB4DomFHXT3jeU6bSFB6Nnt+DYy1cbfc8PEQq9nnBA/3ybITcLiOfY5Ucg8AKq1Tz+hTlQv4g2GOr0fDxIFMiCvMGYyCGWpw7mg5/j/cn5FiU56QXzjL18YCUJ6L172TOScj5I+JscIKPjUfgLjkGoNOGnv0yJxbDAs/82UCv8G4w3OYWb08J+oOz28wOZDAroztUnVOg606pxwgLSnViUG84joWcjCwTNRBLpIFXLcJ77Eo2bNgruo0/Ynt8Pw84wk//Ym/oifU3sUm0y6MyYiUMxz7z5G5UWLChkhJelhAgPtvT7V8cbxEJB5VDCXw8auF8Fsd4a2LvBG8/kbWzh10kax9gxmj66szx8JAkpO7lfJ7fLGpBe330D9+0qx7kI7ENz98h1GxjuEsntUVMe3hhymQCz1SVkFk6POCOVGDNvCZwAbo5JEwzKSYto7jfUq4nH846NYyPdToLScmh9EobctIPcGkXtQ+oe/Kx/hbPaR+SKB7fjdOBbUIEIdfJB7Cik1wIxDF8NfctWDm0omFZYs4iFO1iejC/YWp7uvti4xXz5SULVajZKMzz+ZLEibs2/wxhjdZsPf0BqHebPaj6KOyal535eKYjMgL99zV7o0BQEU5l03Z7cEA1Qg3MlLYK5Cw8QMQ2xC0NGajeFTO9nHwffMDhz3H3JGdurXUG8RhO2knH6/5v3GrUB7N5NeLfZdxx0K8Hiw2QU3eB9sKxy4Du8q1TuDP+gioM3x9gwxVzCku60ISMHaUUwgXej/iuqVIm/AGP6OyY1Ad225wMphIY9X9S9J5g/NgoWJTKPM6I3n5oBVfL7M1w6vS4IQDHTrT6WjMFTORirJJYHZwNlb2EO6ZgeJzojXcjd+w5kHLHeUEaPHadkkKx6FM62GrZKWEr8nUGQ6AkKA2bZ/2fa2azpq2P0gkdeZsrywpZ1emCyO/onHRk8BlTRbVrujWGE1+1TBT2X/CN9Wh6SMkzg1alRZB8d0P2QXNVltRDtr5jimAojXaF08Tkw/6mOqtdOlBp/VhBtK+ARLWdc8CFO9NuSLS+9QzDQqLJmF57GfSY57ifGH/pW9HhxXFCOT06oDaAXG7bRMqMtTnSf+VjRLJeY57xakaxDMTzmkXreR8xrA2ftJYX3CoN6KGVBm67Sj0M0THvtz+q4NUb1obXwpWyOx65mFMgBod6NEZprp6EDYVz27l/QR9JNj8nVONVvB+pN7iEu1jCuDhWkBqwi4/vMc2CqxZtOhecVftxxFghR1fO2xIfOCHYOqxhgnZDe7/HqOhfURknnE+uuLczcMujqmk+To+zAKZyGjqJtbHeQHrK+RDtbN4HeUJa4lPTsiX30tBuNLSwa0OT2yfuF6WP2wI/phNAjCyXUNpl5HeOqIXKrPxByxKmy6IbqYtSq50BR735REczS8ewAbYqFCi0d/gb5E84oz3vlyz/wqZr+XVyGFMMRkPt1XRsIaqzXOai3N8NROxDU4Nwe+AEuRifelroF+PpFJJkOwxxGzJaLKrcvh5wHS8u+h9Ta+KyzFqglyAIpuIkGOmjD/H4ig2LSCnSNbubersyIn3R/HqN0P/ZGghko+2pzZTunXF/PyqbpXGl+mU5NztwGG30vAuLF2mlvm1o6I/V7fsCR3d77qrRnfXCVlanc1O1JjzA5bI6qxwXjTu6aTeX23cSBMyBWIwR8xaFA7RCxHzUfpLmjKgPEYdveV+PCzHO/UMM+pt29sHKfgyFEJx5mklwF8vMa1/yAS2TeqgXNV4kvPd856CDbG1MAATRZkbOM317/UV9YeFWUlfmJhlFFg52kGKL9rfqTayno4kMbceUe5PyJqV08Ew1SfrSwLLf7wh7gS4Am8dftkMBA14A/kRuN5wj70K+YyAYo9H2qDt3mRSbE3vhx7DT5Xeth5KtzOPS5focg7btKFBT33aGVr12MH6oH5EMqAx7vAlv3ziPNf+3rXWCKJcba5wU7LFTdi1Fr40Ures5IQzvGuRACeYiqEOwFe6R2ivhgDRkDP+S+c88tlAIcOeTjgRmbjsjqI75VbCdvWvHQyNEOq9QHYfwG108Fls3BGaX4/hCq4ASfQps2Hdp+I718dp7mUh20AHsL8FDZP0moGDK0viTdi51psrTqldCrCBkuSVu/bVI+aQEhDV2ZePgBs8knGeOoplHBWmfJv4jAfdRyOWtcIbi/diVUkh2R8Jk2smmF/AZOUo1zk4dHqcrUTB2ULPs3DQ7NFZypugnu/YTDH04MJmJORIp9Twn0X9o2CEJIKYiV+nZF/jbQ8T5cryW+pRgT4rQuAJupBkAy5xlZ5QOvJm3UgOHJtuEKoqIXh4L8TsxrDNKyudpYlL3KPbTUSdibKGgOhZU0Yt/pjWK/apBMyYDhIhdiglNC+36ZdFxORVzu9p9ZllvuCYB71U7CE3ih2p0JqeP/QUZY9qMHKikHA6glwCLMN3FbnO6bX9UEwHe+Z62raKuqWA6fhkCT5v+kPl+luqCfaBS7jIHBi1Owul7Dh5816l65TaU3nbTbVDKRgoTOr/ldrWd/neh87Ljf3Zu/wMDWfXzHzT9+VrOqQPNlr/TEHA5AZrHvBZTuNgZCoOOISWsODGoukeelPuSu5gtA0HoWyb2f9jeyb58Gh82y3GyRz72kErEV0IEIfSz/7ltmRnZ/Y8Zf8dB4SbqlryZ/MpZGuOK+iFDdWej08blMxyOM+Yo58qOxA/wXXqeku1bvp92sfl3Y4zwfrC5Zg6bPfPxSz2nePeYA6kLJKVjavZHUfQgO2UH3a1qVTgX9lHLEheWPShHNQyAxB3InqT4cjkgAUMAPvxvy1NQc4An5XrBvR/z7UFRCrd+YYtFSxcqEYD4sHXFK7RsWJKS32ek1hLAjR5+/tOFOCopE9s1fuSVV3Y89xp0HzG9Fnmwfqn/aEo5LEoCEQmf1VjZahylTjliQbWkMVfhmjPvKXBOz0nHHN8O7bAI6WbOLs8geBK6ZzJBBIuoBHw+JQUbwGR7bjTnwprCDU5bX3FWOu/n6zE1hK8bp8/tWOvVzO24lJOzGXALybljJwSKQssf9xEG+5vLTcDjrsZJiI44zHYY+2O9uCZIM6uGhxTlJAWea0sp3fZ5J7pk6mQr7PV+qURVLuORYbtdL6Ua0iw3BcckyisAnCZOyvSUHGJ3ReN2dMmlvnspz6FchpH7q2ulhEZqwguk6mb08BF8fwEuD0w7J0IA7QHg+AVoNGsfJVjV3CpqHuMQ4WTug4T5N4iGf7GXXtthIE4o8JeQypLlLah7UEKmLggFURm+fESzk+i5tMcgfWEp2+YuVXQ6iKi0xTcJcTj+8sBpwsG+M8LSowRsHJdLDmsEQE5NuuOeCimQevZP2WQ4PnuLy7gxQlt/ojC27G5TnDE/BNMSxlFm78a6po638z1PuYX/f/4wsW88JNw/VdF6X0pMmVgokRBXePc2oa3/dnPk7QnYRLDRYAx5A9n2RYB5URMTzvAJiFxliRqlZv3WS1nNsPpQZtxk2WWMYBrrj13ciBjof3ngnWX7QL1c2tNYDQAdpzm7Yoo1L/OJFeIIL5Vv7YNn60HaRitkOvMkqiiUyiag6lxO3OGfYYGJFiRdLmJBuX/D0XCpCljQlDf6XhkzWlzfYN+eXdINenteRI/K7aUscMxQTR1jolPZ4FJy1U39YlBFQnMOz9iLRC3Ei7drL804xRBP68/zpxIJ2J6AQxmtWalA+pcf3n4fOQIs82E1mmi9Ghx88sBsdx212aJi7Vyz+UCiw0xLXVy9K61nSBskq1m9l2t43Yx5QqL1p9MX6jjeE1jHENP83EXa88U1tj4adHx5cE2LjgluNb39JUqR8t/Rfd8ywxWPEpqs/8FsloZT7grJnDXm0A6opMrZi4rE15SPGnG6QkRLCbjnYLCh7C9pKBU4VNreoMVZ3bvVbw01dL1FjFcXjiCIg2qbiiieNBAv7Vs6OXZZ3ZMun0RiEIHpj7K9dHXn4nqpGWUH9n79UznaVgAEal9WFC5tr/cZuC3/gOyeGz0BkoSU8TKXBHlATBfAG2iHo9bJ/QyUFdoXd9cCbgZ+ChsaBoQLCGlysCk6iX0IgLwleuC20ZAEui1pFG+Bn2mZpDaqcFoB3OhzhpIgcObZYQ0bc9zwF2zABbv+LXnR4+HppF2p1jnZP/rG/Pojl1/b1+0958im+2QyQdQdm4iZOMG2hmR55wDBwEEyYt1iPWe1JPUkQP1sO2kakbZ0R/ROcvkP++VjEtXXuTPU7AsqATWvFEQ/lGy9jOWnD3rLrR+ti8yzd7aRxxjmNFBpk0PlG+ykRHaga0GvCwiWtaKAhpdpHj0k6UVW+/pDXf2fJXaQaocj6mK9mN+8CXyJdyVelQwXjTDo7sLJA9sWa8W34odIcOExvgL++DZycSHtZ3OOpTheO7jjhPJndwRCZ+ideJBpGxAxf+Yh9pAqngZ5R83wP8gwUttXFl3ROUgvOuxur/xx5vBft0qKZ+WHP8eB0uKCZjf8sIW25HtsAE8Qq7NLlyOf4khoswAfpSmTmtpZpYguHFFFypFoIBiOTk5RmnQHgnWVNY5ipjTc8gewLBh/RjbRca8xLzo4wWtLGvOLK0R7A4quvrpuCjvELu6mycZN3FVXxdo7r34GVFyOkXbnVkDkHRaN7R7twcAcvK+KJheBWOD9HsjxWBI4MmB/fB5aJYkVYMxXuPrc0iibZUYlrsxsT41metkeLVp0UYhtdsviT7uNpl0paCWHms9VOPUVW9xI1TqxbXJ0bigfIlx7dRHM6YQX1tcTGdzaw17mD0f2hzzjd9/sn+0KVZzede6garhHz9M0ichfcEn7mbjDNmGpIAWX7Xmh1iA4Ngz59/DU4+s07AhCF/xN7Df/Dj5xi9rYZZPrMfJkM48DyJwkoeO9Kl+z47CRINEEVdx4bLZqy6NLJX22w9InkH+/U67DKqD+1NNFai/JMFGmKALb5JkjU5PKuSrHH4GtNtHlxW+7TMpiIqYxLLCyGL6v/UdTH8WTFw3Dy8a5OKSJUbfO+BOGb63MDV5sz6FoBzl4LXDGCPKyUdopJfpiE4Q1ffPGGsoosQOFK9yOPfCIUlUxFmPcTJo8De6fe7YTI9P/zQYZq1eVee2pnX9Ssqt9+ADTOOCPpEERdmIMbY7jjCP/1fbxCyCu1W+Pg+hW16xX7xauzFo/zX8d/wp2O0KPUQcinEcM9X3tAUHYMm4pXEZUp+Ej7xtEiNTN0vHs9zUXC/WwoUDZ0XrdkWtYpTGu1KzaxHPROYfm3cbJ+lNqXPJALTazUNj147nDiYhpIPTNbyW4C6Bu84pEKvBVYCLZOhO4xZY37OFTiHMcWpukQshFqmtsipqv4vPwcT5wnSPCcmtg6TtHjaS3D7rekWIu0bm3TyntuIdp6NwTYKOxesLkGSFHpssb5LdviXZjD841+tM/9cmolUmMY3RjTv9D8hk/CKrvOs/aI3ac5JycmAF+YiR0334huQJFsfGilwSee0m6IfSolE7Pkj2lZjJzsHdkWUqvJ4DvtNOkXf5QUODUu8HgmzedsTmmbSoxxP6IKMbbvpy4ZkI4qq5Qxc6z9zjKyoDKy368gRAQhcuUIlsGj9XVyrtFjwDimQApYvqc7WzkjPhE+MhB4vwiq6efd5qrFOIIwgE/mI2J8SeIAcYJe/vCZzsSOhAn52CA8wHGWgqt580ZUw1lM7l/SQwik0+qmMMw8y9sS4hYLD19Ll8bpx81F8NffakxXnIsAGXRWiFtQ59C1kR7wsU0i3hnKeTb6F1xP+oCQFJnjrgdtIhvBdxO4cTVz8+oYKlguQpxQENWOxtxm8pyUe0ipJH+Et1l8+lhXK3pl6JG/4nd0rWLnZiYADgfXkG2xL/+XBTGbhgNLWAmKK+JjJIw2HiMFkOis65Y5IZk2egtJ7oBsA3vGBcvpo96QJ7KiWXc4W6KzMudM2Z3t/zbZZfJs9WIRzxGGZwE6IRfQXgnrx6fLGl/mP7XaTtGrEQZnqFaqasUIp3hO8xNNsrA8UePZ1Fk/xigidWaATWRQcR4i//dsXzvXaY39ZGHH1uYHmZA8XyyKq8Z0bdEBSVoNWmYAxnkelK7aRa1dkfuLZEgVK77C7ajI/ejTP8ztxyUA4mXvbmdDBS6Y0qIsCcPtTY+4PrKRZS6rIvf7nlOXQMWNYbQ/cjjzxULdfr8Z7dFc5WqgYAtetCnyhUvdx9hHbd0pCi0J9Tf1VjkM4HoKyV35ytIBk8kS6ZI2Lo0LooMfuf88L1CvLKFC/NAykNtcJpj3pI3HRsE4PjofivP/8UnYNLLgPDB9GfuUuhUU49QFB1laR0CgvHln71XxVZ0w8/wu9Sqltvr/0bJ7jKJ0muIZ/z1Pt4w2CktJADl0Hcf4JpWGbVXfdWIS+eZKps3imkFeRvrrUDS4zltvHG0RCabRyw68anfBRvdDY5KGmACkbhvHwyqa14VA0PqtdQ2CRDC1OGcS6Nx4xi3wwL9baBI1mxVw0Z7M0INT/jhzGwe0/In64gMGBDBaRttA1q7nPfYVLejkvRdnvMH8kHNvzPiZlQlWpXGHGADjz6wTrVpiDs4f4iX6jNWlJS8imgTTvffsBNslFcGCsu7YglckPrK25AsCKMkMzOSJrqtRDJHQnWy5CVyo1bsVfQ+3BGF9iX4FDMb8Q4/qAohQfTwP1nWKTdM53vmLBXAyxyP4h1PQwaIT8iBhbzj2ugz0/4nPRyUclvfqb+OBKxhmpp9XG9S11YQqhBBL6Aaula3LbmAH47auSPWGxIDcHiP7apZ5CQ5z14MILOjAZhJAYo3PGVF2v1pzcbwof1uQ8EpOwdHCqvBfbfeiGnu4xz+jvIoEzQZo/uP1cD0xL6XS2rvo/Adrad+Az5V9GQRmINOwzEXlztcObgYcbv5bz7Prc+KWHsAeVhCoEO5sXUnMJtz7b9uixm0t+T2o4kiWlavpvlNCzsm0kp/dJuTWUJcia16IdvynDNP9ZmxnLw1ASU/URCABRVBmUgS9QJ/Tcl5JDM7vNWpr2NIrXOjVguSzkbA7x2houroC1WgIslbcTd7RoJzA/r0a99cQAZe145Yb6HbkmpOQGFTRA/nPmNQM2dxAI4CGclhjYDMYwfIhLCYmJO+b5SGGeEFwWY8trwGxoTveArEw2lNIFerAzZRrF7SQWXay5vSfMp4oKKNplN9+6QL2Y/ex59ZTzLBDHtOPChysOwOnj4n8QpMdfomYoKevDdOdaJbCDI2hgNWMPEt4bhi+OkxIGVxaUv7GGFYoXDPaNCvUj8QecbZ2919ywgmFjvNkmDg2ZC2UP6LF5tD4h7+tEgtou3BVRr3sG0mpdOqOgo3WLUlIWr/izJShcjNRWp1WqMRHnBLWZK+1LAln2Y2F88WLqw8CaYkEBADCFyWtocgupunhVKPW4NdEKPYIWnNY3TRa/1c0RDVuRsljgylTvIrNVkF+hf7GxaTfRYxAiNne41ZJZ8Bi6xVGrHAU2oZ4aOyqyep9eBVvGVOD9e7dg4c7Z3UZyOSsLn4M6r41vEh3pufvRhhcspfztrsF/2M2iROdy9nCQYJX3ajD8FmPLGyvwO+Y0yWwvnfplwHQy7wdVKctRaqs2ZOlONiJXbq57Bdrls+IzBB+ZlJVBoq400d/iJ5VTrH2XdEAMN7VUEuhQcisndLJA1ufFqb3WsdV4NW/34xOTNqNZ/fQ/tN17jITg1lkEY2AWeVyLNrlVJwu3J5u+rSXd3N77e5J6P7NN2rc6G3yS38c8VCpWz9NomPhSZVKcBA7fAehgIAcUkvtGWIs5S3WHsMIAUfaaypCiLQoEZdYiJ5c4hOo5yzi9nfDD728MzAk8PsZLiIqQC8vWnfBHAxV2Y/AhvBhmp5Kf4Re8Unxggu5NL4KSgAJxrF5MHhp8SKq8lzXW1jwcJ9B9aM5B9OTC2bthqddOxuNseX138DX+obT/9kVZggvYQUqkRxnE3Um/3eKAIH2LDxIhc/HEAlfOAAd1gKTKAVWrL3vB7u20CmIpI6UjaJtd4V7cPKHU8bOPqT+llOhrcQRKZFlD5lgiHpWKNhhY2sVlWhrQWucGMxRvnqhCF/6ptAwHIOIFq1w4KAj+o1XovfUKxMmx2JJ/HnLjImgMYbU0ejD88Eq4w7Rw0riLRodjlk1Xfh2gUZ0vXs4+RzqwsFEk4L7yI+CTe35VPp2CuBs1yRsyFD5XWn5TY8+mGDjJSOc8oq/3IPerleYRLtfhE2Pr2qEF4MH7wpAV+ZeYQq9jX/nwa2jlY6FlvqOobxWIpVJsxRjoa1+bTOBnDqJVC2l2vW/rfwuXKNZd0+1UZ/Tk0g3jrjqHF/mpWe5gqprntKtYuG/ZZTjcPQI77z+DOJXrqVpDH3PdmwRYmsrVL79eodBh21ND5oTWel7IzUTYwXOllEIux61MHfcg7njU6hc/dsqWjIRSlYteYhNTO6IdM0TQmxksYZZ+PS74VIDT7M7LCvkBME2BvPiy/tDok8cEHruZxcbmDysZb88QgPq5o1cz4f2V8BrKVcSTzcLU+7rORxrsYtiLIP/s0nedjvq7CrS7ADBwBbYjpeHB5lZ2XO/0ALna7QdDc58+Ikf4Eb85l7XAhoxdKwPSHSOcVVCKj7tOq9/oHMBcieWLWaHwEZnIt0lE+P6HBFh3PiyvNTvlp2ghYfatXd4WWrXXP013HR4BicLIig6P3ojyaYIlh92dlLfR49rTaJ4iEOsS9Tjaciq+xaSK5mBVfe9tYaQQEyTe/T450yVrRv2iHmI2p69X032OkGeuCYjQd3v8amHFL5wtzsKo/5+HkKuS3caK/8vZZPSVj1rigAsxaBJmxMrSDVWZMCCXTU70ftWg7r8S+d9GDOl3FRFE7hvSet/OvF2dG/LU1QXQ+i5pvnr58zDzs3mRXygWYDJVouxgK0NH7uweA4ytIBk/CmBIOGbel0y74F60vdDDtxPBc5pDZnNHptjl0f0LhB4uOW/AeDkmd4CJrt/KtLrFOA4livbpZ9gNhnqyKRKaxI8fUMKlNR5cRbKkW9ajfrEBroyLmQD66GiiQmzitqjSizdWHwmXEAiHpVEl7MaX5Ycw/ctQO+7ggQ1siAttn/TeNpAJiFU43xu1NYIPJYdeKrcc13vNGy5z6npbJyzvN5emQAVj5C6G36HEvWjE9DOhibplUmFs3vlE9fJgc5Z2yKIlARPWQTTNpdm2lCQ2eFF3HKaE2aI1I1A69af76kj2Hhe3BsNmR5kn6vy9sWyxvWdeUYk81+X9S8DWNTGqYx4A1dOZeUcwWJ5OhckR2dF//7PfZCDS8VzYUqqgKzcLipo64k9hdLhjfFy5blQ5HygwjR3/K9DI9kZ3QfB7WEGBSMoOaKAvWV6C8slh2uG/nhnf41QvcD/7+nxXWMBG3cg9aNg/LZeM/k3bKOdep0BinkYybh9nrsLToLyQETIJvAHcbtat4Jg8g+QOFTlva0moEYNtXZpz6zi9Glyk4OmuzQVynjscYaqQa6HyKVPFVAIctPHu8qYk7Wur0rj3nvUzwStRWQi4UjRC/Dbor2gG0V/EkXY8IHoMB4Jff/LPyTWfGgqTUK6VapjDPHEnQ+DVqz7k5ZQDDu8ihLGl/OcTTTF4HqBMfA7Uui+rGieikM7v8oM6iSWZyJFFLm19bd1lX19aO+R9bCL/czml6+j4Utj2ncjNxUyakniUnjvWvRTMi7wdcOMXZ6t1jsUInRqW/bdXSSLm3oyQigMB9hMwDNu4n4NEpT2eUeRHP/X122VSRsaTjvQsdo+XrKmSpjKI7TmLxfhlXEJiyWEX5xHMgEBUEqr9A71oZFbCkoGKXUyAcbHA/qGyNffwdZ3YpeCEe4q37Mejsffcq3LslygD6KXZgi8W+WVJJnZegTLJqBoZeTOkStdS3TE3YRpHWm/oftqwpbdnlMoZ7TTtHmAcy7X0edr6pt1A7kwgsmdwAewVcMzkD7o9Yx21wbjCKyOYYt2cqokvQEjahN8Tq8xlHXK6E5yDzj/gW0w1so1+9WK/e79iwEFSqTpcQofk3+TQlyc5tS7N3jNzqaHubzKeNJY/2SLnNaA+Uw8OqMQTmKSvqRriG5tM3R0rVRl5Klo/D2oprGl5EQpTZ5qRwgQQkNKdXOnEmiE7q1wMXwhtXtITnQyPB2bTi2M0UXADs2jyaxpnUNEVaB5fCrbs04E1/rqIYuf4NbKYUujdSmrjB5osDJ/svZZVyTRR6UurvC9oxKDb8ZCmR9LCpMfDiMmO/sy80xjWipr4lNDNGT9hVzDgOz6fJ50fXq7dtSQIFpPCQff2k+XcJBOyQMgFBMHM20ipOzw7sJEdUbppJFcfIcbgfAmfPPsOtOH2+LeJeVV6OU+wXmzTW2SweaGDK+3yd5aQ9n8GpR/IGWzAP1ZFMD9iGgXzrvoKtucEei03UHGvPx57T3/f8XTzzVslwSz4MBjkSLvSyMuxBlbsUNKaQOP7XoJSfASN4+VgtYntWXJDOSc/dIfOMOg3Che+X5LKt4TSwWmbVIpH3ooAE5NtAFXLXh8rKzVHhW45Oq5mbZx4+mCymwYe8Bysaym9BAovNxreaT72m0HymJa221OhXnM9J6/BqHfZM1TittRs6bU0hAuWLlVP5BwA0/28z2LP23Svk3tvR5BxHsH3jE9SJT4+FD/FHAqn73otYSoNRP/tVlu4nOeMPcjNlYyo/8TaJ3Pq8+ir773wJkSPEVvrj3R0mFiDDqDMwhah04b7d3l0wCmHm5ryMzThkz4ng9zhCCnpFfXd5l//XpXTxwFRTmBaco1kW6NiJ89aZeV+EFKK3MzeN+yUOQyHH5i45VuaID+UuGkk98HeFtWVIWcmkD8cX5fhRO0XXO8OxAWmm3bX5nb8EIAFtlYIg2ux9GD9iV7qlsWnl6hpNi8aPlHTtjeylLal6VxNX/9F9iZvd7X0w8Q/RAMyMIy6/fMQK3xQUQU5MD9QJWEUpqEtgICuyE9Cy/hhk01EYjZ+3aZn3a6iUwoFtRiPfCbbUueQdhfmI41zmhDeEYWnCKCf8r65VoMdCuV35DutRMXIgQQtBl6VHLRXcyaqSZtEMJeUFkkscZMzufFZcZOq8l1KxAEm289/us2fe4TBeejPM+UMGau+++5nkG1DygeV4E9j4uxVHPZftwxaebkMaxneOJHW3mzOa4czYRmGlfxMOa0qlJjmkDFv8tox4HTygzq/Jlxv5FoXkUkBZO1mlc3XisHaLYwroAicCWDoAqSdIfxRn3xK3ri1xAFfWlfS8DKZAqf+ETlmxVkpGruyQBso8BxfvWmwClVWr8gCX1TMSsOflt8/irldEAvIX/XM9IxMHSP6hywt9CmbzPAxgwTaUopzQ7YIsIyv+Igwv8QOudsASeWhW9RMo9cXHbOEHu2KT8xoeB0nQIdT7LLTbNR3SBxYEz4JEylNCym5I2bdENd+gYZIBWa+P/xk1KGOUv/MRXXlIM/BW2qdkR9dE4VeQnSx2LBsKjtfJ+H8BaMswqSNBWztX6nNkovO9piIimCnizT6KaO5tf/B3enBWjhD/GbOt4+Wqk5uWrmTJiJfwiwRwsdukIev3I3A3mcy4inC/Pe3zt9S6hr7fIjxKdYSr3xDQnlQM+2tkiklmyJqpESAECl3vOVujP4ndr43oaB9vUaJPVLCK+XcacGPNwPyWQQUZzH044MjSwtnq2+0U1jYfdT7FSwlcvy/LK5dUKXwQ60uBJvFTWcY9+Ku8pS9wdguclJ6Ur+/7MRhfznSsipkPQravNNhEVihBLMDZecqW1U+K9dtK30UE+97g08RYfgY+YXyYxe0mCUBiQIQqnRDPa+84kDtGTQUrSGeEHVzg/YxwmWvCrp8JkTC9T/VUqv5/jD81kcXCMBUIW+FPm4IZKPN6pop2/71YiPOyHThNtF0p68DguW8ysY4VIxECQ+1y6LWhh4hjTNINlLtnpWV1wrYhQsR93KJjnDlRUWfMYasY9RooYUVOJTVDhApAb5T+9Ea3Yi4NkT6GaPgaslKtMuMODS0r0QSXqcf/kMwUWcPdEpedES21mSkZssxKDolFinb1YVlbts9er8ceXabeviW3Pj44JWDJhgA7+uTpzdhbgpwebE/m5wPt0k8X4CWcPOI3z6wvLuw5tCACSx52GDTNflLaPMT577c/wyFGz2lIu0ATIS808cykBOlMMqJ9Po9EtcFjfNOXC+fMByqxn7ZbnnJvE+GOq31owHWTQu6bZTfXj/2qvCH53nfUSB/Bq/aUHFiNFam4tn6QzMXLYsL943TNIhkD05JiIfiHkzc4u5oL+dN6+KnpLLvTJ2VBvFYQUx/YAzW6XzuW1UEIF1VRMFyLWlT5xSyLhG0qqMKNBeSCIuTpvkRi8dk099MOg+vbgEvcuC2zgDRCuKdg4FdUZHuUhYzjxa5+8ZEtUDwmPV0mgzXEVZzFuKzp8ua8tIuaqb2ZxkS/fTT/LL6Mnj5/FJFy2Bo4PpBSSg9AVg3h0leUOaNRVfoLE2lCZBsuPmNdxv0XPiyTJvNzHzoLaIToA4MZCR605UQ67eQSnrKL2SfSA1HzsBl/a9CrQWbB3PhCul6Cej2sZsN3kB+yg1jhDXMaQpDj50wsOwr8e0MITw+367rDW+YMLAczEeEBVk9QG09ThWFm3rufZhws9hiR79e3tOK7sHkMMadNqIZLeCZYAnG2EwvNWlPm6MwuhOQN/oNFqqmwkilzw4M0jmCBajf2PITx+2VMtVpSi+rrsgP7OZKvJgK7G11NjKBZZgSk8XaQW4B/BVMQ8CUmYkqfKnFaAu+w4sLX1K/gLk8FI1rT7EvJupucQVOd382rAAIUY0KZgRJA7mu7UtmTHTu6MwtodhB8E3qXntEps8AUqJyUjEhwrXfrc/o7J21khH876ahMBE3j2eRi4OHDsKm8i4+zz6fR0M7lUwFuy9RgsfWlB1ZUdD7P84yl0ds9g5VRk4pwwBpRIZICIxAPPg0Yg8zD+lw1dYqyudZvgH7VDHRJhc6roHMe4vBQHGKjBVrHTp9XqzI9d0jwbjaK9Ul09Z8iVi5hxrJ3l6S54vfq9KeA2mMimCH7fouglj36ZNJE3qDlTJM0kMDDlC9UsT18tZg9LAF9Y5GpURffBZxb+MYBOv0m+upiJJj9ydQnDnjfYiO41zEy+GmL+FoMI/2Xg/lc7+ZCYcwWBWIT5vuOdfj5i2ZCdamyqQvYbPtiwOkbS3eNr/3C2pnOhdWMZ8zYbUAsfvOi4ZBLAgA0xQPXkfa675B6MqmWoZOA9GTAmxzK3AzCMYjtEuNQ0OVeWScpzyRYKzobzHWTzYe0bR5v8NNf7q58NDanLnbHuLKV3e+4vnu3SpLqHlhwx5jDy1TbjmgaOMCZzQXWpQ3yFEvgRD4LBXNy2gRUq6PCwC//7ZAjHOZTgBLZGo+MfJ04XK4X7zJ2CGM/Cwce/Uk/SsjYZsIDUG0NkJ0Sh/1L/a/ihCtkb79JeyNKSiGcn6vx64N/qnAVIwVEZynYpnZLQJObWJfTGxF3E5JF3QuFQfvo/ttUw+5NMW/DLhgQ+vbOH6PPxILHlnwkbL6dQoHqAwAN2D3hpNMpz+gBNCLM8OFa8qvs8mvnbbCP0YSQD+MR+sqmLxK4XnzJ4VlVEyF832XKhsX3EmmvakqTEnR3DrS190lvYvr2Op63q2qP0oghJeKXaWR40yVMdzkdHslMNpaFf8Jhy4tTWz2/hIyBRtuy4LMWWAQyX2Y7FfZ28ZZy+eeU1VCTl9+Ea4/OloSGRUgZdSTctPOyxsCo95eFLxkKOhAiqfLJEBsz0FcQwtoRob4titT8xLmOF5uuJTsgaykR45a72SatlyoXTQJvsKZ7txPTW3Y3pqUwx1metIqqM7fN1mVWjVTIhIRlaUTitmC+vk55fuflUU6LFRlo3UfeThkGhArP2DX+XIF+0MnjxTw3Nk/SISkX/DrsczowB8KseTI9mx9/qXi1TvkFA8VmSDqkzEzOk4VrhdDHhlcFkep3zfhOZ4/XpQVAuQgaJ8g0IYFeBEuIafdp71TmxhY7MDAnqNERP5VXO4VRazyOOgS2jndgZg4bxk+LvQ1A9W+bY914ANXccQiuyO++DOJm+kkdBBE+7AzL0NXU/v44ENRz7M4t7cfkaLsYxtKZFDcVgNJjijlK1zPh2d1SoGjsk7hMj3aEVEONYs41m3FgEPXGKoSsjXLTNvfkxaGd3PqBq9tjj9CWcMsDk51m3sa8hfLwGhp4fFxFEBvvkruhljyrWBZl5YBN6R3E0GySjuz5oFDbSfiPpq5S1l7Cl0CpUxHOQyhn7JBQtR9raMVwcTEi/ugKddRua4dBdQCH6RVNe8EE8hJvVtjiItZpM7K72XvKxLDgJHtB56vAuLk8Ro1OPx8l6o+uP9K39/J1DeE/adn+ifqiwwYLkuB35wNpusY6XG0UGkzx3kbtSkuvwcqFK+sog2lRsSrXbETQyBAHBWNJvIJQE0msj+QRd94mhNzzHNnov/xgrhebq3bBbjwCeWsceG6bbEstAQ/MeSuNAqN6PtCJCQM4NU3q6uPqkcSuLozRr+8kXKWa/aD/IuORaoaHZmYdMNGDAb81HIDeq3CxYCsNpjXcFLElMParcYU8+NEhpgzsZ6WnI0d7tbfyGmKxo4jpaz9pEnKtOtbFCyuKklmco5If2SsAQf68Y9drOLO3EC5urg8yaH/EYwnUevur4Ss6wme3Hs22PzqDp1l9x9xH3imtDxEEcbidS+1vNF0THraPFmfMYU6PoqH5HDbH2wOsm6AQXnmWHZMUKrNyJ6/9qt+SdNk99SCicqbJdqDPdWxeur4hIYo1gKPlrj9jj0KtOgOlrXmwFA/mpHP5JgKY01EJ8vPPUOZtIGDfly040X9akw9J7K4CTzDsAzEzy7+MhpGDB2rJxYO7gOUnq8tCKpeinNNz13jyE54xCBr06yHr88qMrgUG+5z4rrEDFKeI7Y985/LSjEaLuX7k0OxZ++wxifs4/UYP9YjvJHMFbs8EusVtZeQ2gi6aov0dv3MNhA8VvGC6qaVVU5qAtPcgXaHytFfzV71oP8DCslzfpMozJMxW+IRlRwUdGpaZ8Y39KcPmbnwd3QKTQ9aNLrfaSycAELcjvEjjmX8TzJKauVjvuJJZGYjsAWPbbpKpD20k9K0ii6jHzLW1QX7neer41mHUrDTGhXbneh8SpgEmtHf2BJAArORZiFzV6ic0fU74w/cr1EziRaKtB8T9rId6wGYWlC6/oa8DShuyYUhzZMeXLb+OafTA78qmTEe2AIUCvtsG1I36N9fSl8h08kK6vR8bzcopxzSycKwSXAylXQguhrlt+Lmf8Ccpr2zFuen6gxLPaWSTVfzQM7mv5N2QKvAj2/lzFsKNUyq2fT2IRb2hgBexaJOvmzmqzyAG73HTxRM4MKAieA6uRVfR+J25NQvnnJCxUTfXxr8izd4AVSoaihJWAmewD9bSh+YXKJF0yMo6ll5gy/aIAxWh+G32z4YDnT3MZCSsIY00PwLPX91np0qyby/CPqO8pg/gtq/LtuDF7kthLccpFHDp2h6NCgHv1RthhiosB+DJ5sWoog7o6DEZlHBDyd28IbuER38dEHQTryyNOAMJW58uZVUfnn6Xqbh6Rk1eYUCm+6ksRHsXMJbA675V54vGojr1KXQ/9rmb3H1K2FKplw0y0RlvzqgdVPujdboMMMtKCLfdP9mQmMg3fcPNbqW2FCwWrl2UZJAnRb7Yx7Vb2Fowff1JD3Zv64anznbFYaT3VcoftNs9uZM9rvDxivzLH0J+spNnIjINAFtuGPzYzDrFoNteZEVZZ7Rh78AR00lge0876R4zZ23ny4yZtM5wfRp1srT9jvhFd2xNuWONsKRHHymEpE4FQMvkNumEI2bYIJ6TZVDihps4qDNwMIYeQk29kTqPUGwd8iyZbUGqJKZRA2BS8I2/0XaabRkWgjnTCnvp2XjjunRIy93nJg46D94DPfZO9n+l6cS9b+v+S4OQrr7wmAQq2z3bWP/GHo38L4LPuMTQhvlb+VPv2vUve6AZt/lfTYRUN5WxPYrEXRa2GNuRUj0qSVr/a1cVvR3xCjt3ViLD/UoHc2EfY1N/fFlw4Xwn46ERGEB13lalNjtMRAmfCq4GYbQM+kshiDuplruNAW3mvy41xAu9KzCAXLiu/Xia6AxVA90wV+KwenLt5v+dlk3L/5xwu3NHolWp87aOpje1bniCN3MyKLh8d1+xYjDsRvUaE3gpry4M3ZZZqa/N1lpOu/GiCxzF7J6LW1vx3lY8DbvocuL3m66r5wIUFJw8wBttdJTfqTdDVzcLVH8fGjKJQ6uT/0+nF2TkkbOmN/c2VkArYakdpQ3JtRGZIJsNTTIqpi41m3HqMreHyaHy9wV6C/FzhyWa8QYqPRS+mwK5RC9e1/AAJYu7Pw9Z0ylr4faiNgwO//q0yiXR4qTlmXJOF8EcHg+u4F6GNVUeUP9zRyoLq76gFtt9wU5CRIfgi8R9cwGPKRlYkWT34uiPhe/9oSnvcZcX9kov7FqMJmxEYUveJNbjbw+DuGhNGAgxLZIhA9IQjBjz/LakfJMUrhcMt28vFjbke/CY0eKRHAb9uEctuxaIPHwpD4rCFioFcPk/kuYb59xO4EylUvKvUgY+BvmgcGuCYfjwiSjCCEQAKu5zNBFQYOY3aGlt01zaL4K8dXW9GqvyEx2BaDZ7ScpQ1oj61oj3vVRrC95FXVkLOL2A0VliMuOGtrOq75QU1q9WJOunKQTV9ouNoGMuPIC9ai4Yf+rETcyLX7ZjLvUtGHXVCgZp2+EItFBi7913+Xm/OsGnTiPFkk6Ox3U2VpUCbBYoNuGLsdmOZL+bH6ZEWu+psZH+5riCUofvN6uhKYMpXYjAFT9qYeHh4sIm9Wak6Jz9OCfLeR3BgZk/etKoX0AjjKRgXXpR7Fx2dnQAQRVmiPbDigRS3A0Z4iSgyQX7ufrW6fa6w+Urn+6QOjzKeT0EZYPRYkW1jmXNFTKhSeH5P29jVaoE/mvIxC7Ht6Eh4AyBE6I2Sw5KiLnjAEKGI6IG0eNsmIy/AO3rjY2zzwf5VoXESqSO8UWKkZteBLfTTJ28ErdoQKy9Cwai8AiTa6hyuhsr6Pm7PMCTZReFHZJ2ahnXMhySQtxsnJhhivjsO5VXCvTk8kg0fPy6aujQGumVvImuuMN5f9WycHhPKd/1eB15UooS6mS4I54DA9COeZOp1x49RHl56OttQG9cyf2988F5b3hFiBmCOGkykbbqDrn3J1hQAovFBZmlv4dnxV1/qq+DLwRu+FCNTSOHqnkhbijHRrmjeH3lr0DjkGm5OPl+cdrpkB1QxgHHKKefWnTgxykJ5Xg/q0ScwUCR1ZrE0C973wZpfecOuJ/SS6edJRLkI8+h4p8YY66RCerXZFLsJLDZxpsJeZ225NG5kp3tOkfeIkI3cAxlonrOOrEj2F8cOyMxxx4Qt5UjIc+yxkQbmLmMqGSg6am2Ab+X76Ao+K/6uteOs/yTEq9X0u7VWelAcRuF4oKInLPRuvslg0VeRHOEEul84lg/Sk2kB9yOXSe6tKqcYahQDnMHrE+cVm3A5TCPScD3aqUVvOq99+trCBCtfiFR0x5gHeenVTDgq4PVwzNc+Ew8tjL0s8GMRCGJgvGsbz4sus2BdZCkECshnEN9gXuUVFwOCvYiYC+veuCO8sItUdyUfuRLki1f8izHNNuBHZo4yJmcupMjBdxpR1JshJUS6kyFA4tibnVkSjz347LdM0LmH+WIjJ9AVwS5H2NpHr9DdeXx0bgo0wOTKMmRehkPS1jME2bY7urGsAY6rv79FLQGGOPrfVrwemU9UIN4K2UN1CT4QQKvy2mDC7Cte1sNR0HW+q3SHtzQlOb5TBJE9v/zbzjahDiW2PLLivbR8LyQ4AlCzhiJJWVjQi2gf2yC74zCxYLtQ/4+lR5tU89n8suoz5WXgtnUfNf2QZG7O8eXBxzf1myiXeV1ztZfk668PLVM9B62tblqTcpDS2OzSf3bTgV612KKEQ0GbviVuF0nAL6eaXoQ6WX2NZrQYMNwKsGscXb7rkbs+6M/pqKuxJIf/bxFPkoZKfp0s35DFjJtjTOywd3NDE51XTBsuIrANKx7G7kkaIHZWleztNG9uFBt7fpavVu5OW/Epz1E21CypvH4z+YgKb7hWEtmqzA5XHilhuT82+zRRL+ERxi9vt8tSUiu3C3SCA0TFYp1PExS9+xvGodLn/suQesVRTnnbZasmr9VvnJPUDA/w7TSc5pwGETTFZUZvZyO9UP5AM6zp5aOfgu/z2/GIXRZh3UFCZcr/oJUCyp+qKNWQHlFvwEdVzrGirC3PwLPLNs6cq+7pzUJozp8ryjxhVtqb09g6vCpHqULG4bwPF6aalpECLxki3oB3lDxFWkazpiqWl11UShs2sIQpjeENn4J1u3RLcwR7Llo688bwhmjLSWkzAZTndaGciJoIT0Jt0gjoEqTPYh6XrYVLoWlgCfO7MgsJ1M0IqLRLwd3Re+enZZLIWQmVt/quqmF23j1aYAWNladoyMTZAUGv20TZeY5JWPNbhAt8cgqjI0S4jbSAtGSJO8ZTJXvSII6XUsPeiuCQOyXgnd1Orbmdp2Ykol4N8QRVcmI7j2IQZxJ6Ctq7DQeNnOrQzhUmzs7YWQwLzkPfXPH9zak/jYI7vsU2KFZ7z7X1SHp4Cc5QadrOZNquFcLX+DuKieBhkeeI64sEx64bVr6x+DRc7/knS5zD0+1P2VvHtMqqtB/kNZKoJxY1NEJ6ide0S5K+sgiVCg7IPOLYqtZYU/mTMKkGxiwtHP+FEi8hmYhWAFyf+9GROPauFxnHgtDVciR9jOoSd7FhPFCfa8jn/cQShMIXPw2sE0NmG+yAPm3BtvuzIVItxb8fn0vgS0LxTT0wnXyRgsVvEdM7dBC5oisRCEY05S58jIs60qMIk91RSwiIQwCFdrC1WQXuEyyrYGNu3/GpBElDhuyMRmMzVtTfSh6OFOXVEDYM6j+v/siJ4tzo5khyG5JaxjoUleWoB9IHmo/rhx4XTD9ldq+ooZgUwGb64nyBDOeNP+staTorrA854PVViyZimuY4kNktnfxMN21veFp/Fu/nolR3mcWExhVZmLyMp76RsC9A4rfrSfwSDpSCVXt9GeJHUdcuCI9Gj4nczGzoDEJdfN2Pbv2lRK21CSCK1RPUiw+05iVZxYzbb0FWJEBvfuGrRawJsi+yOZq19ZnQMD8pIPwbun2YhMMwml5HY9Cka4CsslRUAyLFvUxhQBJ+6CkaTvBzMnPzDT/FYwxH02P1o7OGXFTB3l1oUoep5Inu4+mVVVvHoW5g9R28v25gU2v2Lo9eCq4SmEzRz1tTuQpH1015KprAjYLwNXWu2o+LElEC3EGKTAJMlHJq2jSQT0fcNcWHcmK11ocKvr/Bdx/YU9YLsIgnWwaUNHNmCn8FvtSbw5dtKKgL89Tt4+VQmvw+MWWxNYeOf98mwzhbwMYIMx6m4RqW7juOtXN7zGuuzcAzvXUbQA3IcPwbyrPLGGCIlSLxsnNkj32Q0TM1mJY8Yctpsepgx8u2XAuyuxCjK5iYOynLbZaoHiDJzS9HK6+fsN+gSPKhWTtQCVUwiYEjkk3UShZnoRAvbug4M6d5b8VSkBS0fmlgEoY2I15Mtj3dpc885tec5mpcAyg0QeTGPlMj013hvuHLXTbaM8Gg3vU/OPPzLcRRcD3YczE2ARbl4c+4TFhD6UBYoJH06xZqn8eQbjagnwbhs/l2vtP7MEQMXy1yKtsVD33lVviRWGA+xyEgdPGlsPPkUOL4nxC8lsExbGGqiCcZNtng8FWG2cMN0lzlGImzBiTg9TVWgVNTZ5VednAzpmuhSZGHs2j1E/Dibnkvzh/2TmARZYAG2Jz+poqAZDQX46PwPdovPU40QgAPebzJ/MJa0XUXNfhXqmRCfDf2On6N8pYkbrZPDmEtwDZVRKDMm0NNw/gVmFrotCbyPln02DPC/jP24WScPusPCfvalBrBEcCkC9kYS2SLCw5vtxApQIcFmiOvkbvmubXQ7J6LkQk8QI2ch0f6VFxkRbxdRbZhb63qbV+eQhNyjo7CYs22FUzwQKmR9PFXLUK2QObHz8MSaOhdqulPVwAqtYvpxSgQKXNoG07c9AiDMKG6h2o4MUE15O6EoyDaGmgdVqQ7OCS5P2A7OMXffGsqxDUzixii1O04AguqLpQBUdQbEIc00rAoi69RU2kXlf1DOPhCzo9NzRoyRZKDoWUIJu7evhhq25HvqdNivD9GlE/QDxm2ZLgvfazTCgiYbEWRZgsxYH62PKj2gSDbS7Df6+eMlFztVz6RktUx2Dliy6lcP9V8gPIplhPU4at7CQ4MPCIyxuIn39JdhWPfVR3BACYH8ORjl8Y5uVEXNbDoKFh8aOA9ydPLPVLeqQbqVzFFf3HqIZ9AaDdiz9diufVg1LCsYXtfsaAS1j7jhGUTFEMZ/4vi2wu3r+nhLnH6v0IvPqYEiWt2zJkK+vzgNyV7Z9aw2HlX0z9i5gce8GYO+FIGqXlHZUljz66Fx6tiglj4D+tf6nf12t0ytMR9uX7wKCxRiZPytEtUKZd1Vxj4D/GtMo+rRJp/IHgusTY6Ybp8IT9PEOOGUXTR1qISaIJDwKnZHiSdWzVg5xGerEIq6Q2G+V3sNtcQ/d2/czk7vllXvasyjPvxpHU1NcwNHevLIt2iw3rDFt/CLdspN8DLa4pSFfwgvKgWcLOdJ97EV1UpJtvrcsMjYQKnhqbji9rcXAUyv6KIu0eFb8/pUNWQzlFvYrhygHHdVj9pkTORNJGgHqVd50BMAZytahUJUJVAH5wHZbojijgsTnr1GanKirC6fsBKvMxVwJi1/V+mRXV7cge6ODYSxQNaCl1tzTekBPUy7DAh0WSkQQSNmyN2mN9fiq+U429Jjv5FfnRRRuiLl9UL6L24WrbkE2kWc7h+/O4+0aNaEcDPTeIK2aV5nyhkQ0Bdx/+9By17tZQeOCa2XhwGvCMtDH4xic+sNj25frSXq6FGJCLjpxQ3A+4lMOwzMe0KMx2IylmBmt2MPKwphbR6ZZr/G21XzA0UGDeneFf2nV+yMsUd7z4yTa46fya2K7ej7YjNv9b7NVV6M4ev9MkoRj9A0tzkxLmRNaiTW2siG64RD6RFI5opJzDQggWC3w9AyPZd3cL/mDqllsRuLBszvqor/Bgbc1XOkgP26ATw4mKAgk5HM0XOWcV3V5xt/zy2va+9QN8Ea1vdCuJT6p6QUqGJwSR8YgjkHLdtWfVFjaAU9SAqK3fyP+9mw6c6MBP8zQFRcJ/bBJWU3EPCjlQHR+01U58LV4iPilI/TPscaK78FQpgtkKLBNQ/8rZyONzpM5c2bbjiBv2VcblwffjDVW3Q9gLFuV2RNl8C8G0qrL+UzP51ThzATJhZikhC31ppQjTkwOhoJJPn3m+X7CJ/16gJIgN6DvFeQoZr7k/B4ybSly4aBtc9jSmlOwtyixCSKEVBz9bGYbRlhU1uVnMD1MRCuZcrCOLXEGj00HbS4VultV3K4v0Uyp6oWvuOjXA8pJwC8eDisCkX/HOIVKhxLQj536h7FivPbMa1q8nmJ/H6iGhame2GknxDZ312b4fI93iyhx+aIjP3grn7SkNjSOPkDqlMfVOUE0PhnTIsFkx9dazzXXTi74JEOtKibJ4Hdr/APWLesJk1uX3P33bkBBsUQGDM6cJzCAponIvJ6XXVfPUsou7AbCG9HMrG4wiKKOqAt3EyHf9wjF8rpbvkPvOfTdby2YusTOuUBa6XaHZ4KXMwOBtCwZAiSIGH+NqYZEpDgd0fEmA4T8uejD5ffUKlkmxVsu0tVtuZVQ77uTR7av694XNd0si7f4E1GPdREJVxl0T8xNQPJAYC47VxNnG/8ABg518qYZqoIi7pgFuqgy/ny+z2jgeoW3Opo4NR6WyMWdRhQ+Mb+R1j7Bh6xDrUoamU4FkIlPpBUj+gnvhpB+k5Vfj3EezHawcLpKBsWtooJymnVEgf1ZQs0Q4tHkNlko9oz6G00XpL+lvsdbWHUIlGcW6PTNchl3OvPPy6tY0p0w/o8d5PnD9AMZz7LfoEHoqAu6V1JA+hmsK9Ejq2Nh234s0dFgseFYsc3fM7jLJTxqIvB/Ca/pWiXuG+xST2pG+/tgcCNRTvhMymFNgQwM4UtgRbNfp3YUbL+sJQVxUSDOonia6gpvGm1fqpS3B1UatCD6KuHFt/bc9jJ1hDQM7kdp+DVB8tsvspXFe6yxpklakWD7zdkXYbAmkBQE2WH1++0lGKYrelgVNInhkHIdLIbqtvw2eoJzZKGLEeTyrj8BxKcM+r7e9CmQCeNaVSeFWesydhZOHo6qiq532YFH7A4oiJ2B+6ugwfN5w6CyXM1KK9eICm81BGWBVGu6VBdVPEqgkbf0N/u8YBuVtkcl6qlFGjIeGvcqMji8Ibgu6K6iGvr5FBU72bOOwiRcuZW/4hPt9CKYaolACLlo5SafQX8eDfSV4uvDnQX7CO5zFI2NY6Oi0y0c3r6I9NiFuoeh2l1IEKW0QsOlqVxyTwx5Vb88lnH/U2H8Ve+TrKxRHKyEps8chA4V2dQhRqr8A7q950C+OIjJ1KK8VLCdZJrwlhHCfKHgyUPlWv3l6JUKfSAuSKLJWfjWY1vc8hsi56Vxt5yuesBnIM6Y8ilJ8EAYQrZvZNtXEf+s7xU3Vn4lIsxFEJB36/Sjimo3YhCl0AuTzFK3lnl1kNaPQAOtXiLDVi6VsoyWqXsD8etKOqyTd4XGORZ4NOJAqRlAg8JLqR1CxqXTy7Vr+yqFZoKOdkzQ7jVgIdMgA+QHK230rHKk4tjzEvfA9YOiZ0xBa1hSemv2KdlLHB/iiW2apv0AXPL7mj0YGJ4FXSOGUZJhfRuBcYOn+SZ4pGinmfnfwhNmUJ6KTB7FC38yB756rD46YTl5LkXMoE8hIK5CAZzzl6OpiFZTZGwZq+kX/qC8V7PyfEeKZxpE+T+FRbb/OYCD3yn/oDhbiytHOPQDnblULAAEE6lBepJHNicZZvNWlj4oa9s+JeHy1kEWXZ1VR8TacAK+UhPQSif17TLQL1LYpqUwgSPIJ+dV98TlnOAHDQIYnuQ2YqKHTgw/cmliFjuiex/lpuyJIptUaHD5A5esMxxOKTLPjw7BqwFodYF/TYlrbFTTvorP8zJzLOuDK99PvkDv827yYhI/dFDMc1FhvDB9e9/yZAWIZsmKVxIQDO/KO6woDnkJbCZo8mjnmTw9CiAufiUud4rarH4xfYZUyHLI+/v/YEYLVdRJ5ntI8NA+HjRBpeO1EfTg3z0XU5WnEis3AUfe67wsHxfxMp27ocgwQysLQxxb9+uhUI0bEOjjwABEZmHOLVrYKnU9cVVTjRNfvxQDE++cPwf+9FNrElBNqMVbCgf69y7dlTLATRbeNktuXgk7BGYMZwN6fAEZQy/6wt7DosE/yfXlwhqCFFYWc3pN2WHgcqdbmvlk0qPgwLxR1GuBV0JegeoNpqjR2bAwBjpL4SZhHpNHtWgvyy06jEFdcWCOm9PySa/RUXaZ8wArKH2cq0Z22e51nmiuCkCj9iqnwTEFxZhiMDoFkuuZwcVHemOQcx3BGRFhqx1AXhwy9wUGO7dfDrUKDtfqtR3TcWQtwlje6Y5mqU5r+H0RoKqlRS/NVbTRrqd8MSssbeKghBn7QSxbZfK5Sc/Nj5tMGWoDqLHtvm6LeWTxWrSKOO5vZmxZaxAVx7wb1H78TP5phoQlwPc+JCisN+NisCcJ2LT9MEe1Y57tdETjrO8bZnRd1y/Xbf7pOuDkQCwLj+Aes2vtLrNbAZzH+e6yJNmMKhYbAnqtALHG+CYQ9tuOCz5gVwJk9jK7gUmo/OaE4v9kJF7kqA9OKh6LO6sbz0L1Lj15M4td+uk2Fv0SpESCjA85m49cCHxBd/xmVY4op4uKbpICCyRRBLrwIo3hNlerO6ALtxPf3J9tYpYPLcc/j1WQ3OhovN6n4cXb6Q7WisOwemTj/MUzEqIpwcf2v2xfR97kMNfCDVjK4q7G1Ln9yd/EMVg+D3S/BZjZcE05OtEnQ2I9lvwwinsp1muG7etRCUrJaYR7ZqzuHafg5Zk2v+LC8KAhRv/GEdTjDurcvsk1LwOn16LbT7c9v09Oh+UFRpkD/qQd2zSVRs6TpItHi/EqsIHMIKrllLgb829hWwa1ioJqZrhXk4SvVoJX2LwV7HrYQQOz3Bi2axMMcwh8hJkakRo9fuDBfyzv+KBPt7d8PPzKVYIcno9uVYZKSxkveaCkH9BFDYTv1FzKXFy9N4/8mf8HVYXIiJdsEa/sNt8bnU574mHyM76s0LAWciXFys2CDznDmsctzj4489IW21vbtBFC3nfFZaJxHVM4sbbk5DvglrtWyZNLSuaLhqPJ8tSN2I7qCnMgwsGIC7IGe6ZeNa4fm1QfYy48jqcng0eV2/Zc9wmtmdBsPgDfhmIHDqaNaklTs1L0qG+HHBSZ4CrPRfjY9MLQYAeUhuCJ+w+3TqoKLJtxWLJh33s9d4BiK0mcG8E/sBN02rsLP+iEcV4y66fO++5odQwCOoO9qwFAswe0icPBMImPb3Ud+6ZGNJiMnd6nCnz13pU5OURpKAoYno8/lg3MKA86Sy2uew6I6TGYE0PDirpHQe1EnbbiFOkX3uf661G7dOQ6yA8JU0m4F8Sdljdt6yDSQj7BOrX6RuDP+gaeGFYj9N/mqJRqKQFGeSQKuYB8yVUAw/ttbK8WQm/d5m0XOUF9Cr0sKoSSk3Pz6ldv6Q+fGs9etaZQac25ixaBXyf7/BZfqmA69Ixvs584raKfShnNQakN5uQDYW5yAhjsIdUGh2KoUTelhvOD53TFfHaqX+KAxMj5kOjbkb9Jx4lzOOscNPj1UvvpHv0CJBs8skOho/bpClrT3eoeEFjtyKJ38+aWEo8smQZjvp+wMpqwPXkfuGRR7B8vSwFDsxOoGJLQ3Te8eBNjuvvBQ+gndkh696ithD3cAZFP3iXmGby0gqw4t15+a8NXJyuDoxamYDqN4mQunOlzz8curJf1cijguarIF907gA3G6x36bHmHdy5xbvn3ZWp8v0HJ+oVVHzBFRr9bx3tm8pSoP6InI7p5r3qzujiucjXHr5hatKy/R+tj+EZMbVzQKw0GAaqqL3DUW0lnx/zArAdPydv+8sxQr8l5Lj0xtWIXM6QNV8XDFS9Ba9zeKdgCcxHPtG2zKURIIw3QqbmR8p4lTBY7RuH7AJ1xRIf1x1F0WsD1Fr2wqPX/MvC2nmOA+4BuMjhcoJKip8BhmOlDU+ifTRGi0knYkxLyXISfYXlkLPfGIWuBCE4+Gidt0ARTMxQzKuErrOkngEsvn9EO+/HrlC1sC5NmgSaEKr6G2vi2oITU+gkolF8yS5NtNiuP3Tcv051zb8vAsSVFy3dBeUYhqr76ot/2iQmhBmFqVasiekyGpDEVHs7KVjW9h98NhBb4MLZNkSIq2gCKN0ijg+eyg5oyGn+BX1WEklpsc3UccdRIvlltSfhLE4SkEiUjNmzrNzhXxLEYHRpa1pt3BvfTmWtGrQugJMYtyPLnJ1YJmneenM6SZq0TU/rHT/J3+DK+kjktbRblDQAK6icGkz1C3sWNW0NWKkubNHl199cMi340h4oMQ2XMzGevvlcH+2xEkrUXxU8r6W7908GOvuvEeeR8iOEsdmMBG4fxy3HeZOdIZLeIdJxuOWnLOMlPsMqd7DuU8oGp/pJgTB04+hN+9RNJwPZJIYi8Wv2dtdoZnwxhlwMoopx9ZNf77KNTuphfcaLQGG3j5lw2ACS1gpBnsjXxD6kvZ3T/ghuU5IW5/I6cVYZwkeIb6DT3ZLzQy1r0s0ZcLP1bPoQaVT3mfJC11WccIS5rjn56KKmmY8uweogtc65KjMegFdk7KMosXE+jgZFkpczb/Gm5+eXMhKHMuR0cbUEutCKkyVWkL4WFut1xPQwQiU4jpwgyF2SCy4Dy/AV6C4CTpv7kWOhGxRu1zjYyoamHdzQeMMamoZZ8aogapNbq64GjYbaUQ+wtigEWVWmTsOkcPuFL0jRS00LUpNHhd2wj9S5U4Ss8vxVz9sEsxFHq1VZYz1pT7sWowUJhoddjMOBy1FNGPE0my/yjyzkGX4x7wofsQjb7YcmnX1nvtPJzR5Crt1RsNiAaNDVTh8sT5UtkUhpzDNQguKCDEynYJGEv9PlC/WQA3U/CLd/Scu5GZdanEmvjknzsKTdfDIE3HWZf+gPmJzDBXC18QlLKjvo4aGqyHSuOVCsOdeE4bb2K644eJET+vAiQUfRNF9SsD3dvVKXL5VkNnXuK+35h5uPX9He/25ti/5k153QykSI7/IXlLt2GCN061rNpm/KPB3Q3tEA+AMcMlWOPT6YmrOxhpMcF5CQb0K8aw0sdYgPo6iM1LdKqlvubQvYsB+9ikdC/nBAKR8cZEdReuKGSkA4G/ANnhHsj2XW9FcUrbgmceEFuyOaYNZio0vXA3SKnj/NvYOl+uyIeDrsMHiiWoJm2nDl2wf0wujPsuPrlBIz8FQVPUdxy5JZCtrMDc2aE0ZCDsL3PClgpVdgRfaQ97NVCUAfJ6ViA43TZZryBeSrxVUDwIPBSoP6CONxNIQOr4CFEXx8TqdLW4FDJNxR39SO0Go+t0ceTZVqGxArMQNxuoJnS1W/gHnIeFabEVdDsM7i70UrkytvWLrzhhHIDsWuKyHZs+4hrsgwxjkh9HWRu2X+4Ji+RUai9ii5E9za4hMC4Fhp4kEMMskwLQ76PcphzDRI8/0+HYiL/VYK5cVwSiKwLLfx3LyYmgWgC/IRxDycRTuSU/e2grFRMydewn+L4zA94e1RgvZOm2KglLDOv9Q3dxWY4Y08AsN7vRTGGI0+1EZtY9ACT5MTunTOuqxKXB7/1SH/06Sj4Vc8KXRdy0mTcvTzsrYF/Qdx1MuKb20VwCdZ0Kv7av7nWuhFCk+elpcUIvLjV8BoCXxQgFUTpxEqQxHdqm0cTp0ksqKeXeYDUIbpCMpBao48FHFifLEzgSAJQk9Z7tUpzFHvaoCK8TXrtzEhCzA/p8u8PIvS1geusRem6mtDrs7X90OPEGgx41cyxhi1TaTELAeF8ujq7tXbUWZ9UoqGVhaGpiuEftP2Hzuzq3pUILlHPjbq7XSaMpByytao66UnLir4MT5G4SOUSVeT4aqxSZF/3FUhWmHxYjKBDM/uR5CD9ohAjXI/ur658q0R8YI5q2AdIjy08g+N0/WiOcaDVGuuRTKZSqPErTgJIt4kbaMFXiiUADwKaliqa28jWOsvcIAHxYSVhqzpKE+XKNUtsLtcfdsDZC3KINQ053BnVF6mTgs69IMBtyrTBA1uvUBwtrww+kJO4WUhqSEJVB0xu0n3DaF9W6z7cCqXLPU7wxaeZ1TsDL3aaA4X6nbyi4ddcKcqVqhzKaSR5f2oGtRUjB2DUjwyrPMgi+eQH2Z1F59V4YtuBi8+KogCs8NT8eF5LyzKM8+C1aE8hF5DS9B0b8Y1kQjqeNr8+tmch7MkQgGbM1fJuDkInyWc0TOaQoRaer2FHYTRdZu1mM0W1dkSWZ4+QvqQxUm5y2wDNpgoDNz/KpCRmx8FeXSe67fzgQC7fRNTTKlIKEwB6+pXDhORKIPbtuEprZ5LGucMCCNhZuGMyPYgmYikIhBjXPgdBJlR6GMkK+iVDJnSVGNZz9dY2wE/aTYvVXtxWiluIX/u3k2raZse9QVocrweGJQpGLsKXpF5wBWag+sctVlM18rgkzfyroCjn5jAsJ8Tsx/LVyNmdNQs4SUibJi+4m4LvTOPAdL43qXlvjvW3YUKcFFTLuA4Cqq/h6lMziusKcr4sPD/8nmGcOzuSpIYO76dQr2fAHQtFKrEmj2ZVsgIKKFFl9HGsMjXl+szyvW4KdlmKV5uDfnSGhQGMwH0rCWMbrdTWoZW93+SywcsRt4b77XOHwYOU3XB1rMuGz4QDyhKV05CMkcqGauoPmKaM/M1ZXIZ1qtzhkQd7lnU+Aj+NCISVccwL+GkK5pI1r3JwLMv/l9bLTUa8gILXRJXAwCWTkYoWmpQ/tHIMFXI/ZpwKs7pnNBQcapA0KUf8b0VfiXCcr+oCUJlEsAOemiXPPDY8DXmkgiawEN+T/LjzSxSHpYE3DlGhds5sMH1XQS5GhWoiyhugoOt3+zlrGIO1fwTKNspsKXR/59WHcsVd3PaKxYqcMtH/iFHJeAzYEZ0i6ctQXyLQQLTtn5iP6tND6LOIFZXQ/bT1Lc7fcJIdWxudS3HU6yTjCp+0H9oKXE//j+AuUAB2LgvooDkxLYK7npsruZk0zGiEaoEBIWWP2PiBOu+wozjflLdjOxdZfdE80cJjk7CGYciIwCZ4szaNcfeznh9W1xEnmIZHEPswFn3MJ21O2jBxNnN5PovtOoD2pVRe7yvW1xlHp5mCYuZlV4I3cR4RnohgYkfTO/nXDISP0g050Ns1/SnkcNIPNuCMa9EqmUUkeaA0aLuYf0Et5wirke3s2Ka5xOq0LZ3ztd5ylBmbub9yJk/lVqN3NRKjsZsJbpcX+K0IjRlAo8ivVnFDuYVF6JsKQ75zeYrZgrwR6ioaqOOmWnuQi6nn8iU6sLRSgaKbmidU1MLTGW6ZT4GsOFB6eYFDYtQi25wT99QzmTws2PEue0eFjmJ1rl8QKJOZKAV5vnklpqsmU7gzCuxNHcexOg41VEvkiYPe9dWTO//kseqrBHHfZQJ2JF+dXmjI+Yv8zoBiyva/mqs/RwbeEQAd9iacuvNjR/QAlBqZJTxldcXSCenF1GVym6fw8ruzHKLrv8U+QkuK/GKcTe4HIzw9U57qKRbuhY/O/W0pkJ2djeOp5JQCv0zVp6VfQisc7lu/bo5b6aJHqQa6ndMZ2aPL7oLloVf0+9nuTBExGSBpHPdFyYJCRYsBc8+LGM9V+hQf4ysdkJUtUz0Am++RAdq6ttDJ5Cb3adFXPTO5PxfuxDpJDrwZLs0IeTp349eKVUXh/8TAX0btSVWGoSeyZq/A48cTp83TAxoG6r0qE6pMhENUdPXCtZxc6EKQQMXYQjnpDoV3E9dwk8/xnygn7iziHDIC2SEHQ8dUBWoSIY/Xa3YGgm+K2E2h4TNwzR6dPBP/sJ/3KDhOd7zTHNXdDvZHoc271kvT6W6pHkOxAihXRWxQ8NSQ6Q49zOWvWdbdqPC+zP9BHkqKvoTcrxnhtLguq1xFC18XBjfkmrqBWqgnM4J+A00sS3avcgwhz6wgscGVLvlZ89ZIxYAhRySwuDwITpkjzMNz4cAQVc7kCKoXZA6Q2Jr3Gw6rpv6zGAxvuj38BaL6ptK4rwCI7JTUAQznrLwVxkJj2IPNoptf02tbGeOXmGeIDx3WISwTUkn0LWcj/U2cg7t0eoB/ck7TRhYwPTE0iBABhLTfv3qNoWJvzFnUw4opOMBAdObaeXWuvnK2nB+GDLXBjVmR14rEpPlqZ13XpT3MIj76n4CFF63pJGNc5tnCjaLzo3p5teR6ub0Ka7bbFs4bjQRtM2zTHXAK2nP2h6Fpow5FsNqMmTTVrZsXdCH+ikrWK0/WKz/EIz6yrJMOyvyX0aCCT9uYfDfFPv8b9TDnLLkuDLWzfMnml5qq/xJxCPBh5fkNZ6vyvS6AUEj3knpUMYXpq6o6AlPrj2T0l/abfjlbpZQMYDd0zWWqQHamole0YwSki9WmVrzkAzARi88SZriC+fPNmpqZPp+FjZvOVlrtHF1ODJeKPh/5k9gqGK5wCmkaQBwID15QZqJl3a7bN3lJupCBXysaki+NRZ6rjNFmG3t7tx/9Iwby8PFgdqI9SA9bfqi/BL5S+KsEQ0vSoeLHs5EOv8C28tzKDhZMT2BvpCajORp2GKAkn45VInzJOpFK+aTDi9yV42gHjPfVhJr6+Nc1m2HlEAY/2MjrrNxhdKNIzxxqtCeiLflyd8FDVx42olMX5totqevQU5KM/11bOFA+2fVsJBPIm+snBjYulS/me7G4w1Q3BmghQUjyMqmAoEDenhuiPB0NA3aE8AZW/O3LD8q6vsDh4WyRsXEQ/QqkIAsCMIXaPF4VoEmRX4o1mnElgNc+FIZfEEhfv//qfMjs3LHKfUyg2xCBMplXNuq8b7zqHPtAqztYC2OD5nw6BjvrbeazB/HFxrBfkJOSAQsIUmok3gFovA9cuU3aiGdB44k02XAEj+wo4THD1Mk9fr8bVhzZCt5dJlz3M9/wWCRxMVe6TZN8LgXCPxRDuZIDi8W6ZTzzarDkrv/jTi0e+fyMRrfYkqyldTtUy/E4MdvCdleDXDE/T4DOwbJc8gVtrh2wJ4ftMspzPfKpEr5XO5WbLlNAwhWDQmJxL93otVFSYxI+GnH8JKOR10YVWmIKxe8bnZxaeqbQ9InYbrcoG7KJ9DlUxkdb0BiXq3PFOi0LYtnjoTcpcFtNQ2betauvdij0BP2HPlzjuNGcZa4/BnPzVJ2/YIsZWLVNF1YgvVLNJX5xohCvByj0k6nk36CMEjpVj2gCJXAFiI6vwNLb4gpGUxTQaOe3U0Z5f4mLWJB5DsmhzrXfHQ8gPDv9P5af4r3Ad0RPt1zuKUtIN64qIb0AETG2fxtxL12K3nw82ATb2ghk3SYqH9ZnaOqOH/khtab3iEtjadpu77dW4AWhgMbpJzTLca20sSuGkyNfoNCv6egvV+R9szUiLSHp0QuBE1TCHNVU/tQuk/CB+RP6N3NctNalq7GXpZQXrgCglZDntgZVchQbPrUZx6um96eF0N9NsSb1oL/kFu3Qq4PZwBQx2/D9DJbsQrxVT/DSjwv1P4gcdmZmWOYCSxJlaxEOGsPihPEl3T3q4BzY/a49SXmnb/m1+hf7r5s5i8Ot4KIIyr/yKQIb5X2/Ke0Ven8xhyzn/UIZY+7byJfhxm0X4aGtTElYV89yj00Az8BDqUU5PyzfvG5gb5BMjcKRmBuuHOb7ZLLsAEDZHYPYJXXJKITyAQMRXhDen9tTBYkum5vmngPDJhSajjgBLbiX9mUZBrQD3r/Kun9UiGmYqFJJ9ezrdfSfcfDxKImNdk/q4y3wdIqUxcBk8c/7sReS2lZskK1DvZ3R0QwirmaVKqBavgHq4ICT0fMzur1/QRLNHXfSvaaQuVBnNGezGlFL5RyNKEPP0/0KICRCGcGx1tuAucJabqPmKoteYME85xlbNtydoxogeN2jh8GVen0g1xxWFTjnYsYJP077/wlOoOmMVKUTG43CoXW2jM3b6GxllGQzveTRLxhbKEXnmAT+JOU9HpTW4AZOORIbSluLI2J16jN5a/zQ0Db/f1YahNxFHmQtC3ks2KHGKxFqUM+2yifdv/iN0phOilgHGxJh6RcrsgNQHIPA/WyxbAsRCfYLzVumXFb17KzaLQmt6bAWuNdtsAzQCBRN2KOpiRY0ZxqYwn6fsvWb/2a+Oi+eIiyjiR1YNWfsxqqsWDFVqJIieSn23rMOnzQfmBK5lmCERb1AQ/YdcVapnxnOnacTmC99tJCB7Lp3I5aMiE/RNrT70Z0FpeY6BWlUVzUZnmuT/a7B3o54HUN7/rlXmjAO6G+cYvn3rxJCRHgMntjj2WRB0BqV+4UDxfLNXO0xjHdjCHxLCOnZnhvbi5D78Qhaabqj6UcXoCyLe/FfOqqiURNvNZsPq8e74MGlOkisTIIV8LRLXlqVOGgIVtH0p6MhkkvqLILj7JzbK99SWOmaqrLwm2pSn6cXb1D7OooL8+OgniFBGx8tWcENUApqD/sFEISA+TSpd/URRCs4J4Kn1sJtVnpsQfTTKAljTAs5vqgAUqlDa9Na322ZJgJXYi66CtHmC83O3+Q98dIpGDrYNMuW6TvSg76hkKr1hh5r5nJ2KnAGKB1zVVGw7jNq4A2kIQjibGlpQjN7e95b2onT2XO4GQof4Jd3tAs7JPYT4Lu73+aO2nKaPmZ74sydILk1ful276/kTVjL7bB1QHtPXI3gznSbiZasyBqFuX3gNV+DCEJbbROaAUt1WZ54ODgvx4xLMQp73cI2p9I+MPK9FnguD555rT+6/oocXwISRO5y2i3lSdqNwJJ6dW4NQ1RWgl9UFbEXWF8rmuhb/jyhSI0JCZMkO4ZJ3OJXBgetTQvZRnM6Wy9YKbMA76zIV8S2wNXULyDPVK+UyvNrrTkbMO5tbZXndsASFGZFd6s3jrLCEInIvfW2stAo7Z58CbEKkZmjUmeP54qAoKX/+SleboHAcpryMiW/D4Wp3tj82DgD2TXrZ2HJolq8DOKjltas8ZJ5b1LKsyELldo6Rks5KGIt5zwWnbwYUChDpscCCHfOS1gJ0v6p1W3PFzXDsdZ36O3DEKOjg4sFPBqrwKBMFHK7vMEKvp85jhkoFT7vHnKMU1GCyIxWM8by5RK6+z7VX9+igRjELtWrOLo5N3s+7sT52kHy7CXvpm+DlVu5Yl8Scd+j6aTwLFH2YcKrYi31m3JGCN0GdCMeEiZjs74eKGLnYB7lmD7+t3oIG5wPzsyEtMb31VnWj7Hi0VK1uB7qVgbqrGp73qycM5nhhwPanl8eNXMrfi6bS9yEWTWSkbjK8+bQK7rL0fsPjPPOpQc6hH5tmfbVZ7q/AvjIc8UpxiNJN9irs6VXITKDYWjItR3/aLVQ9iJrgyQEuXrfK+J3VovKkIgedOxyR7X6omvxvep18HJv2n+fjAOMZhrXT6jUR7KezXOPaBsLQVPv1RNENgofA1jW3ChE4s+bjzHCmV6RA/439o/AxEXdJ4u/bjCszdnChLymN5S3EYyoMM15RtyABC4lTBT7qlwKKNzqSAT74vMqvCn3vkoRKHsKAOLfatgR2PI2XQUvjhqXlS2A/znkr/Y1c/30WmVsX4wsPKIxewi8Lm/pR8cMzFLfwlIUqEUEbLQGrJ+vY6DKyGtO8bFru1WQ7NJ4BB3VTU9y5KIHXdSQpRZRvdQqOnDi7v3B2yMyCcfI+BuN/JUjMTJNwXORuDCqlJXn5vnZ05k4gaytmAAow3tamrTW5XEtl980UkG5KpK0r3v/U0/adIlhSE7v1blcSJIL8H3d2KFQ/fj1hZNr1tHNGsEotXuXjSwFvYzzgro38klTGs5+E7Em9VmiagFKafaazWHDmKxPsvOT49WLiaElKHnrKCJkDAmphMAVa1U3wgeMmCSTObHIJ50pW11p9SPfeuPD+ltFEMwqdhylzcOlXKnup0QAqq6UE2B36rhMc4dETKgq0lka4f042PKTHFeb3OcjfBeAZ1urIxIMjYBs3HB7HnEWawnTgP0nPYfhR6W+UX9qxcLyj58uZXQnU3BjChI86v/PEZtYrURAdZxOd/pDOoSuWzF0kTkEhOt0uRR7g/iRb/J3jhfTsmK3LeT4Qq6oTIctRmmQxV6CF7ryhWo8fXsGF+uSMkAQhK/kMEKYAUYdQIIA8+Uif9WlWeIf2xA0y00A/whUqWVlUicJlZFQVM+vMNWoX1SeEZR0KFHRSCOvblutBIkqNLDAvRj/iI7yWAEycKPCKQFdEqPIQGHHiwurLzdZCPIbju1NmMqTKhONAR/4LyjUy5M69ne4sZ3nNyO2wyYrqiKpBQYdMMwI7kS2vfOgqCjZs2A9X8SdpuIGpj9OaHV3QTbXO08uW58Sz7tw2+plw1QuuO8mJbPttDaypT6yfkQCHBJq2FTZfcldVo46HDaSsx2GJ6sh5waaVh7lwLWJ3k4raIhS3dI9hrSyCDusv63gMzUuiG2kdQOnJl5FNgA6jsV07BIy2ghNCp4cvz/E1pl8T7CZ8sMoaYeAseelxMVcuTwh3DkRMwIUxpJbhv9CJk+XnqNGS+OTQ8nVhSfpP4W0gc2animsYMivJ1ZvY8uACW7HZ8h4GKYmkMpuAlBJ543vRpsGJ23jD/ciY3dcRPS9wC98JOin528f7x69vOjv7lEHqTEEEGTvKAsC3xfv42LEFGAMPPOlc7tpT39dDq+DllmrpQrp+AOuhxusP0fSzYoVLcD0PJsARCuKkdtnQqeOs+ZSZR82DzJ1vC/72bVNCx0TM/z0j9wxNHgajd7dHM0M7THJ6kP7brHvFUeBOypFvkO1Ttm+HP/lcOvLerdC6HnehR41uKKTuOP2tCv4LOueEDCaJzip82SVasFQkK1dkYjqG8onDI6G/6FPyesB7xjxT4U4VtxqAvQca1y/k9nNsOXo3RCPWv31xDrP6z+eDTJVhgL14yCGlpVxhSJzjhByjGnYs0fh9q6yTfKY5ltT19hByUP+mABMvyG1LdHG2vlsqTcvaD+Ag2crkw9SKCp4nuZTK9h5DfKnrbouk1VaShUVB86LjhOgnlvOl4eJADHUE48ljogm4rg+KNXJO0AvwA0J4OhXKIziW+Bbt8IBItlRBiZS/XSeEI5y76TbujSpYSa89qx9gDSjXV4gTvtBJHaTn/9wf9jwtcbe/Pknreo+WnHlLRNiXAIX5LAzHDAIrO/0O4aNWbgmB037zf1c4dHqPAqy+VnFyJdWZQlVA2uKTYKHuVy/T7Lymz7DTebhOZZpn1xb1MrG8K/pNsSa+/uNjFG+Mc+XUnzDmTPal7rtZ5QneMXIZTI7N2qqyRRt3v0sA2qGQogxz9AG/FLaDbnQ3z3FLieYiwbrFRSh4Fl4hcEW0KSDgtmxYszMnmn0qw44YPvb30hzJLx3GWN49s3lLQtuEwY9VSveRQOyHc/JG0iOX5PhVsB+QafylA6RXnL2MyAoE9SmjrZC7LS6fbBTMto57+W2L9MssDapas7WwY8JAD0ugIEvV81CpzXqCcyEOkCwywo/0hCFZl3XC6x217yutp3nadABeYHMUTeWRdjHQ7JarVxXeb0boGUbzwOCGw4T62gSJx2224YF6Yvc/58+AN2zHNmikDISeJk9EpQPceFY2s9P6pRPof37LiB2IsIRjlS4eumMzH8ha33RcTS1WlYrKGYF77RpYr/yr/nCLkb0swfFxthVOfGqLSPaNT1vULd0bq/ZAfnfoz1Fo+e4800Au27bZvpWv4U0P6dwmYm/iicZuKkCVWVFHe0clf/jl2+XF2Abxjz2feSQdBruY/sW4+7aNOOlaVVBhvPz4N1AfF1xKWgCvSw2t3KvW5olJW1Gmul/KABP+Vw93JU+pQSLjZwKXHRpI1/GSy3wnfkKEFNGWjT2UXKuD6CGrGQctX+Lrk4w+2owo3BBhAEUXQE6rRwtdmFceWFVIkU1Wf+UYuWS77CeZRIkOZumxXQT75XxSETvX5XjKcmyYIszfOUoPTBdSM7C3eaGfW4VVZWfMBuuOEieLX6zfjHhCaKaBOseynR8KPy9ka70OaQpDyIvCKNL0PVpXLs6IP4X7kO4sFRS9lUpvK1WSflpFjQIrf6sooJier7xHAhasylUc+QYzDTEKBfcR+b/pI3TBG5vcCKWvsVVHyTKpZXmbEcWnFMpODGOv7Hr2TyEsCRBu0hsiuI5EP8UrpqOtNpZLAi3afjef2W2taBTZKJJB+dfMcQupgw1qWgJA/odHRp6tt+EoOC+4Vl2j8uDykAg52kJiO1YFF3KWdRqRUpAC8U/nnaPHC6zKM+f8EbcyzmIQ986Ipzf7WIh8UAJujOFSyIOYGWRUcFpvR2d3rgL65QFa58p0fHDr5o2UBe4yGY7HQJYxrrLFm4xK1QD1bgZ6a262ZzHd+Dv1NZrgYQhPqtdBOM3EPmxsXrdujXCjAgAdEwnDeY5m3FfQg56a5z4YuCn7tKoGi+n4ZPNkYFIx4tGKu4EKAeYd4wl6qxIYyF5bFs/7LsHWy0sWERWEC/SuHDkM6yTHVVVN4eJ8CewJbcfPo5G51OCzz2F5PRUGCirMU4QPgJcvn81Xa52Ppqj2KLYO083a6tW2O7QRifLHTEvav/F1/55YXZUhxDPZ342R9C8g1qQHAdZnnj0ZBJTbySD8hrPjv27a2E4Z91J6krXpqJjXk3WiiL1ttBolADmJTS0+L7pv64MR484u+WGUvJdtvaAovVJpCPk6KGWEUoMNxIMETDULHG0R/1TLIhmk+6eLN2xkHF75xeB/WcUkmXhk7W8vWx1Acml6rUred6D1QCws3yEKbGGpiTKOYa22mDZ4Nadetg42w3ABFO6rNlFCR+faoDAAKXDiCRqo2PmWsWnQP1Vq5QAgIC1e7XpB2zJPV7n+Ng3koRI1Dhnmv+/H2HJ1sZ/jlRgDYOCKxqQh8s9yv5kfn63NFcalTWOCrzAdz9jfVTb8wYYOaBBdeVvM6JTtMscyoHAi2Ysh9n9EsADn3kKjXFmRKo8126XuEJvnmtQDWRrHT0nVnCc74zo6JrCvu6JawPAU/1RQQWlsuV4ZiBw67xg/ajVUHC78x5/ov+8+Gbj4EqMkBtuwdhh16RmiCHrrnQRIcV6C4HnKWqCqp00DXsx8RUhA2tI64qfrtXMYnABbN6VkXgGcmeJVQYCEbMtn3aYLixXinBVJeTxpUeojC9ASyzKFcm3/HJ4+rU2SOtACrIzjJBCVguMv/mZbaQs9zek7FYEDsQN25tQU0kIVrQ/f1dpOcHoOyGCWm7mku0HKs/5GZBWbYeeWAh2pKDw8Rc7Vt9b0uaqBNh85HaH2qoIjjBMjSQMvWE1ekCn6QTdkD4Uzcga+nBGdSslD/RfcpTvhYhsQo5GLtwcwqI2XTfO6D0YrMuRv9oEu9+26bbTxd3bNsyowZYOp24dMC2tWp2f4DobacTtSHaheqeAFMhESrMi/JPwK9ILjq5lCvfaf8PHBk5+h0TeotYaVUYNHslURcpShqV7OdcGCWnxJlD0NncLXxgZeGJvs7LxL2KL1LdIOPn4LmfctX6NBhriwwCisdq7IdGrnEOGJcP4Tahbnig3jUYIsoTtz686hf87qQudB8yZZoSvQV2Q8qGO+1lZf9YVHF3afC1modCOePbTyHL3ffsyagq9nfODMNFU3irpLWxoYCdBrTMYj+ZQyHgmzbaBuLnyKFBEBfx/+/x7Tr98ovJBnIBsfIQs8AyYKbUrnyA1UdpnFXPUmd10BgohawZap1t6l7R0rnUzZaI1BUqyZYR6xhcFT0MWlLS4u2E2nf0tMgdHVJ6ot/slRmuuXnx6shpVo+qDi1kx81SvuFRmWBKBSKbFLMJW95WloujAfMtuyzWAAtI8J9gEwKzBUqNY53lwnKvrvTG297qyNF5nFdxOTir8TzOluB4CH3y2s0TSdOHxRVNfKdoZm1WqRVCgeeEpsBZUyA0uxV10wB2+JcrVpqz7bEKuvxIRbciPsPNwWwSS1MDkhVav7HBg+K4Tv5FVF4FHR36oMBbQ/Zr8J6Q1+RjpdvNPbZSSPwbJ28SfFhlIRvU6HMk6yx2D2PxavxduCoIBCtRb6mht/IrDz/7B/Vw/2ekRQ7kvx1Es1QCZGwX+519GzYACvS/HjRwMobLkCjAn0jyL5+7uLJoXWV2YH8KmJIuTOHPs2piVFha8jfRXa1PJjgQ7potvaon3qd1iF4mkFi4+mMdoj7Tb+ZgJ4zd+qtK1hlUI3KPLdRO2fKIGgrGbzy2dFRQKi7hEFmM0Qgo+We7KVdgTeVIMqbbhFqAVW2uC/QUElPZ90bWiF2GwGNhd8PH9JNneDz53P5f56mA43vtcxntbLgQel/uYAJHXxAToIi3iGw2+W52VchDjcbjnZ8nR9qfu21fhhpafspO6INrblLnNPMfUgWnfYxdhV0lOzOmvf+rKbkcw9KU+xEkuyhyO58RV63AZ72GSkwo1OlH59LqkYPdIT6YePJVIasQE198mWEjlawz6QPPL3i3zg4O1EKup2wkmR4yZ/MH2GrAlmUpiatpViQ6XSNcFXY+S2aoWixSMjBm/ex0VlGIrQAoyHyaSFKak+9VwabwzX633A/8ppkJgtR+10C7z5zYyxfzDZuuhJQzqykbiIm+aHrXTzOAXedhtG48pcYjbanh3D+Fav18HlAyRRj2EycmxmnLVqW9aVpLeVThEbSSrvD7KaalKIzGiYvMNDTlnRdSRchwphoX1dhFpevmzcFWyH83PD1Akeu93WACTBez2bZ/9aw2eLwA8KJTytcaYXiTfvJTmiqhHdgjcXgo6zAsN/G6LJgOtBVqgk0X/BXkxzqK0lS99F9208m1G1X9EDfC79AxtbW67tczoGYF8o5jfiTi+R0WRo6SPXTjGP2HQ1fKPzE60W/zX7DhvUrU0gsCfr5LciE67DtZw/vrnJnziybWl0fXDAKQ/5f04fBNct1YjcteOGDNXEE6hKu2Ui2CG7s3Sqscbs/1TVpYMgv30Oc2F3JgyH4tniueEAuWV9dEbJSfHSlYMhQn+e12RIZk9yo+wonG91qss5wDGZ2fFEwj3Nwvya/rwbZZnF/nOHZsa+BC1bCRXO0rKShCTCv4BCsR/5WjVujQbV/GkWco8fbT/XsIesPBOrtTZH4AmtX/NJkE+rRDIwcC1cNmg3XgN/fjK/UUn4R7Azc+z7M7ERhAbZrJrmIsSonBP/TcKUeCuKuYPC6+vLH5SNkUD8MpK5SEt6GY+kAK9euiu8YF1h1y9d8tJszh8wvjum1q0diWOD2HmjuJ1Eaba2bANCUPm1WKFkGb/t1813STHJjx7tkP6/mw0urZdShLSEoppnauyiZ1SOUrIWg8VS/mjJ6yisL3nZRa49DaMlbWMP6DuaA/H9UaJOQoNxBadxUQXTvlcNsBcDKovCDvcwE9j0GHf4JiNffNL7cRNyxo25swWSU1JyhVB7ZBxHENNNP/uOSbSAf5TPhUgY1VRg9I5Dt4tw10fztDslwTg+ojsOfcr20BSdDIN5xAAnVBa/IQbGJKYc6iDunHZeK7D+VC9A44kkMhcAQEn93gfD69sVlYmIdZHFACol0paydoIIUu+WVhxgwvlqQURLXiVIEyUasqYTXPlZW/Q4YaqVbFLTtGFVBX2FaxsehkL85+JcJZRpiL8KqkUQ6p5dko2MSwR8EbnppLuIKO5PeXWUudxABP7rd9AyylZzJi7vGq7hx2UE2FOqsheBKWbOOtrPDr+wt473z9vV1ytZ/WPqdnlVfpqIU1/R+QrBbLcF6BEjmYrXUTh3RNAYaGHpxgAwRh99ESjR0KruGVawaQ9yWXuD6FggyV77ruUZdXq6iy+itBRxx28F0aXifYPXIR1ezGKsOvGE4PFojX45+XCiX3iELrQaZgznfoKiCiZAQK4Eq0/bqV4IGM/SMP4XFvjzkhMUR4XUfXuSW2HGIUTZGIQjvkBVfYFcfqsQzLZ+nUiWj7ukWAec9CSer8mwJDp9avP2A1Rd2K30hxIphDvi2UOZcSgBi+KawYqlPSeMduB556puxXg06zim8EXX0RK3/zk8oCnAnjKxahecytAHHceQOnuwnH7HWliqAOda6zhd0BmMDC2eFCUPjRt9QQXn/J1A3yz76Ki7tAfTkP3bXnvKpo8cXKOMbum+4wywSM1+YbCtREWviKKjxwd2xdK9ZyEpqPP5ItqC+mCY/gsWRQbQ3ukkSL4sz0PBYYvfNP1V1dRO3vyw964aAq9NzPBBqUu6yUx5Eb6i5Hvu6eGVd8Azj8e0gFLCHVktYlcaSdOT7/sSYGDnXP+xIkQL5mHdUM+dGN3xK/5zYYodJzJDKplx0J3dW/3FAzsL1opQWONaXMo0ZlxfU4f487IMilI4o1Ld8dWb/WU/fpDX6j7RhiAA0PPITCf3y1g6EEjQiZVe/Xx68DF1sQaPTRYP2dgR8VnsDi9YHWm57TxnLFrnsOkDbTZuGzP4JReYRvkNqSoWtg8/eSv55WCcOB6gu491BhkmXMUVHkwzrcNmx+kENviokHqcDUXePhPewALdCMUkY6xCfSRX6nolPwrwlw/jFzrXM/CSBsHJJFltsgLvXK5fTRXy/RiGmX07/rtng32Hae9R7wlj9q8AaM9xTfqVE48nG4Aw5ac/bBA4jRgl2eULBvnUcJ8xyLr/2Cf3/SbYtqrS8bpFhITV0HjRSO2aqiDTQ3TOutyfcH0tavZ1isjcVP+VMEl9RrOR6DRa09y9omi4n/emT4Eu6oNClrb/XDRVce1bDg8EgydeNcTz9N79RFW87O8PoTIKBtd1lEfp6d/GUSl3242vtsSumU8ebOGix61wzZW8akTtVdIM96Lk5WRgqkSaIcF3sY2FNG92TTRgqArbvVN8RdwMIzNYr/B7g8bktQflBCjChpoKSqkmNKCYYCmZ4LEqV1RNkH6enasYcUFvpAf919THg1F2pPdB1sanwvA0+iaiGMNOuqFBIDz5Jp1G9VYQz7SAeSTlgr034V2ZlMPC/zcatQ4luQ5sXi4GkVESPHgERbeLz1BTR2RosiVcDryyc5QZoPwKCulQIJt2tvRPxhl+P3mIIfvpQYIsfw4rRaG+4Akv+71/yHcrWV2PZCauq3kWTm7iQRhhNW3542TrHDKLa/EicgWHubV7w7qXHQLKM2Ft3dwjIF+Sv7NSmGTUBb82NOCmI2OSZaX4yJQvFY+us5LPHZVxmncOqPhk2J7zzicN0ZZV0KVCoC3CGPWCtgVYLpCsJnycIC3cRqWTFhzbJu4OdSFL5nS4IXsYcy2NDhkTc+5IqCLFeeHsq+xLbQUNRRBNOqKSXURGj9R5WgJVLWP3jr4NQVtmxLGxNPwiqif9u6dgW7b/gWJiBgeKUQWlUOD7bTnl3FefVIgCE++PZTAhOuWNiCmmCnB1LZQxt4m42kwi+EgILZ3MCSu4D7P6c4s1TL7ljgE9D/f5OAuGfkHZrypGTxDbaMeFvJ01QBsTh2/sjfXYf2A8yRpA7UQVuHqBzlyZYvAk4NB8c4xVrPhc/PWUZ8gDCRzPbZdwD8mCZUf79tSIF5cU00qzP6S3BN84aHx1jRbpH8JbZ8AqrXEHNB4V5wWVbxdDDQ7qBZKYqzjsAPYygU1XDOlDZ8rPDwX4M/k/QxNWZYlIeM0+Juz9GBgnE8raxvAubyEZmPOO/cXBZbpHKEPEeHRsU0+YtnzK7Gq/ezahubdaIv7lUSlDiAcfJv00HfC0y+RpENsZcy9EXvh3mpt9aSMJdqmoBu2e+ezQPELCgjwWqKGmgdomPxpe4IUyF7YbqQs63x0GUYHWu/G11InqZyffS0UN5Mf+2YSv5leUG0TeKT2jXeUmiTJ8yyVEJYs5OEHGS2nEYut9a3Nt21+JYxfTfULKBV8FO2R63IrjnUbjT79Cn/qp8tA/kwEGiwheLW6vdwE0cYUTVwvFaQACsh2/eEw+Nglt7ChpSAtm2bAKPTmwXuNo4iTudlwZGOwIbTzoyIKwBaHGheMpHiZTE3JDM5fKwaxztTiJfxlC4KA31puvXXcMORKE5hplqMMn88z9KPneUjUADWJS1CxZYImkSFpB41UPa17kQW9pcTvG+fRw4m4Gom0wHONUfzrAENd0eVfkmAngeuAjgboJ2y9Ay70LqHAY/b5p9UgXAWW23zE5BInWzOmcyGjnT+MsZ8VEyBOpPCLSBbNAgU1q0B9cJnuXpjjhXAPl1dCkaPAvWsv76EP0ZCdE6lr0eBFNKNrnelETmK+2IYNvZc7DTp4OJR4b11kOFpdDjjhapXtWJapL3i/Afj6bE9dGHh1sJKAIWnNHehZTNoJtfXV0KBagkNdCGbknjUt5wB3Ru+aHAGpsoPS7qgmUm1uy83D7xcpNgN+wvsA3ttBIvTyrzpXfgch3QavSfdQt8/RG3oLTOjxnpLoekBymrfcXBPCw4Yiw9nHwr+j9DzmBzfclBslEtv8uogngpcIL86UaGMuJk5MPxahZ7c+5t6FGQ0zLpzD/ex5lK4cn8vnnCtDhnW/6FjrnzkKXN+EyYX23Tewoi46ppAiYoy/vQZqEq/SllMzA1wUN+fMhnabE+twiXebXNHz5wbQsXXvkjbOd8E6evDk+F5K5ajyqjIna9678DQefszyy0Xhh8BHO3ASW4SFXi/pr/2w1hdqPJaG85ueV9ndIUK+9nt+cSY9j+WeE6vFFNy4mRW6yjst5vYFcXKlZL8Zb3i1qwwaiuL4oUWlkwSuJaRxdBhpcoCpTsGODOVSuOwmFkNkjCejQliDrJZVHA4W/hx99yLrpA3dFrdPjxyCXfwsmJa1dzPed5fymDHVq4rwBIX6njWRBe0uR8EOqRN/ubE+r2SIFSZAD8YEPTOQbEqDOpx6n8O2wBWdj0RCXXqvGYwwvB9/HnRBQoIaJTpjaU8X5gu7ZGJKW76wgacHveDYgSQ4bBxPgXUmXWVu0dkAZd6jTaJL9MN4qkWS7gViaUCKlSwUJM9ohx0xg3rF+rP0gqswwGT/xQFfrIerWmXslzKd/HRcJP012hTqMgGxQBhDPH15x3vIToIRtdXlq1P/K6QfgvyVAgNIBTEHmUnJo9iMuBKivroblcMg2wFm6pipfUEmKFr2c5h0d/edLoFRrR8T3Qjd+FXcygzcn4+0GvGBkYtZ0sgPkJEEBigRQv/Ey85atb1GKgSXsCznLImpQ9NYrAjsxGpx7KCWIYIZgN+DyVwyCTBawXHR/wxeWKkk2SaSCynyC9UC/nAw1t3rcHFV5xPyynzOwPGK8Kmi3vcOkmIbpSgducCh7UYb2SVVu5YQs5thS6/HnCu7x1Vb7ihERFbHtkW31eRHWx4YwdVUZ9NGt7JjFpH4/vpFBmVaNCMEzKcFO6x/5/ByK2uGZ/FjNBDzC46mEbMHCHLJr4AQlL0K+by5QYvZ+Ui8+pVoXzw7doz2uc3YI+m+YsXUflmZ5ZB7pTq8NiIFnmp111LID7g0U/tZEIP8ppfDCHxUs6BQNqLPaOfF/SzksiCaZEVe780J1L1QG/WNmqHYfhLe0AEaZo7xXinH3eUYGS8WenMi85w7g7wSUq3LHDSCVTiwsBddeBL7utwRPaBwJliE35V6FXfakcu4i/W50j4vMY1JGeKHuNyv8odantO9nhdkxh292w+SEpI5FM5eeWY+egTc4oD5OrWl1NDdMTxQkGSGjluanpFUQ+IdnToJ70PoTQ0jEc5YmuBZAEIkgCSa1zPmJ8DJn4mgLC7KbhGcCu/9AqKgJ1qc/AWovdmeVAtQMbRRp2JkDxXeM1a6bo6yTgeI7s6F9IqLUMb02G7rIHbdVJc3FraDwvpjSyMWf0CX3hb7eIdU8j1ze1cUa2um44BYr/mU/EJGaZpX0gbEMdKklUDZuZHIKCeI+NxOlrzYwkw66DRIVFdLzLE8zLA86YE7RbOnoRoVxB6C32AZs9vW3kPErYlQr3rNDEW1ehgAzNPLgycfm85vi+P596j+Ps6Tbd16MJ5Qebmflh1P7XAR5h2zYUbbow71DGA9o22SaCmzymkgE0PSK6nrCbjZXcD136oRUB1FujUSxp5hLZUA4ZwyQsdweIXXGBJY3OlyrxKXiXZMx5otohIb1/xB0+mNoB2lAg5NXFasRp9xBqzznyIDXzDgKzCD2p8BymqvELR57/MMR3RjD+0MCK0i3jc+Nc08Vz9lgdee53u8WcbEQMJOzL9iWiCDaPK1JWW0G06fO/2n/ER+mMC+83bwhVW3ssQyUrEJaTa65+CoVUswzli/6I1+2DWna2tu8sWBlOQrYr/qROLnx8hERrRmd30jFDIcUac5Z8WL00nTj0QbValDY1uDyB/H19Mo5nvS/r3STPAHwbixx7ewbhOJlpZAF96hJCtE5ghQZE+C7hpBtDC3bvGUddZLWNEvA9jyEbKIypIsQvr+tkVn9fQr2yT18Fktk08ln9xO9ZTriNpnCG+QA36NQFLC1TeeyxFgLNC47UOPkKjJDzonVps0QJjTkVi1FLXOf+o8i1oax+zsv6YRRgtYATUhKUUVzry6ACc+iU160tIVZ8vT/xNTvDXom17jzVeofmBgTxVkwMLponLB15HMVTbIxV8foWEPsDBjeRozGFOftqNy58cCz8hExxvPOyQP1/cIRToAmp+v64YIpqfUlLkmZVBRQEoMqZNTAL9G5L7ORY1JPbDDc8wobWgbgCo/5dR02+gMHeIRUO8i9bq0/SMKtEyq7lHvJuNkNDKLHp0QcCnEzEJNsRIHl+0QEnggfzdE0yOs5WJn9LqEyJr8EQVrWEfLipetSU14qcuVht6FQJCEME/loZNKFn3MlOMd5SDa9Nqs59DlHJuAWg2JZKpUhZ6d/7nMAchaCkkycrndoFQLbaFoE54+cmyU5G4wJ/9PSbnIMTK9MD/GVtCe6CGLhcJifXy1VjW6UHiqCiyaJYjcK+24AvaNycIJr7BYJL74u6e/3VRvQy386r+30DFslhMhcD+j/up4fyjz82uxeQ23g3yIXZwnlUYsseZxhr9f3GDswvKvMfNVriEpDDJhZ+816h9Hcm4OE3h+/nwj+ewfdmfp/oc03RA5ePnBpd+Ew3jE7vnh/JANUPoITzdmF30Bly830Ip237sLJwJuELkxZdIKh8hMJvZW0iXlMND0glVEL4X52Rxdx8aa+5hRWEur4olY4jQ53ZvoMnmSQHR8NdSxoSDsFOSXT7j/k0AVL/JrhWwUSqXFEgYdXk7ug8tVKwcjkfRwxj7x+uhBJGsIrq5mSp931g7MIL+++2T+chYKx9PiihgrQZjGtWsfP9uzkPLab5TiIgYaxjH/AgiedyNECSOcJ2KpNJ9CCxCrvsp0GlnWqdMN1VdzPlUKjIh1pAYONc4f8jNFCELogBPh7nGKt8Ek/N7OysIbY8MklzXpo0J9FDbhsWalEQE+KbTGxRHReo6fFu5uCXhE9HfSSgpRfJAkETpCVnwqrIeMfBPfLoazFjUHNQDMM8y6+Za3KsfGgcWg/EQS4tdos3qVixOkiijjJ2SrV2oh0OiwTh4JXGpcdwBy1+LASz5EeHKyM/N4iboegp2JxRtVCjEn+CBwJeAMTYyTKnvZsxRWPMYw6Mtoj0lOND24laxWEBwfzayZHj8aH03PlxT267t1EQff6eJP1UPCsappF47JHrUI+2aHnMQHzr3W9FE+ASb8zTGEDH/SWwkJDK2/YoewEmJ17UjEGGR8KtAmH9kUANwjR1XLnyvnV+RwIXv0VLLSYj/uBagTB9YhwSIYxpS2U894FO6Jxb1ArhFMDi7iXLkCvxUBm2Km0hcb5bttpVByLOnmoVv1dwrMuYzrfoa5ukm4qW/ohMvm5DFlJ3crrubWgBOwkABf58w6rGqcKi2h5kLdmzl0Ocg2IBHcxXCLXA/G4XzkSD3fuj4HlIDguhZTLj6aIuWc1OXG8Ac+mdHbZ1s82p446EhlWZyZKqFARvx7sDeMLymu7P5lwsBzPkQui1K9/rygtjKErd9yjNZQM2uetw39I6FhndujYsNseVcwiBXGMMBbKRQK3scihYICMI4P4KPlN0Q7Cem3NsWTlFH0hTPlCPDgqGEu9pT/xW/8VxPZtzfHvbShvYoSVi05vMigP8um0MBNAb5V3qkaJ6tsCPbQjLDRhvMZeE3mDgHrXPQddXLzkJH2GBqzqG2xjR9ZCxUAjQ7BD/bBFPvgtlhSR6ioZT9gLRuxaR4de+ZPr/eCVE3b/Rb7bDTWN8aZjX9zH1Qql/Z9MVli7gxQWT6YfElzYyLFriNmD4AyS0MHXkCMzmyBNSYEuTvJFafJ5eGshVDv0Eh45qu/fZE4dK1o9AIP+YmYBndqFnchOgh1OuAR64KEYrZB8FcVdnN1GHA9IlfQGV+6Mga995a0qGgWws0cnO0NuXb6QT9QZcMcqzsz/J8SbqZIqCcBB/GF1/ugcyYTau/sGWxgixUCpFlscIHvsyQepyHM1cc+CXC45cgCOEDOkju2qUpcnP1JZTU6MsP/gC6NYRVpjU8fO5WAYTLqffVraG28/Z1fDb7TUZdE4DuKAeM1gvqK5AaTFNwUdenqCjPJXfu1fEXZ8Y2jVYp+IYxbPspAcJ+iVXwvr9IPsJZXOj4RumKUhsx8l4Os089ecyeTrytrGgveKD7nbN999bPJ+cpcQdmp4x/+5/A38xuUPleaEAJ7YVM50HNPqXOMJWFpeNdRtSy5XESxcWn0Y6my2FGZmqbWDvjp5T+1mQz57oaWt9+P8a35nJswqtH/ZQgS0ZHTeYvnQGZqQ1jX/VSEdBfNbx4hItOLqWX7v1EvX3F+u4Wk1pAtXRyujULXWkfzzU+Dw8UgBbfOcnmVul50du03ozeTR57O9fAOpelfOFoMnBK/s0RtugTPUfSyED7kSUxQCVGxIzqQShPZjnzDNSsxpMaK/QiuwIcM58EKDYEaLCtCHd/vys4/sIbHVUCAHdiFHKWaFRF+/VdA3hV+NZCFlpVvWDJvOuHuO0O4VJm3JlWcqfQVL9WvwrV58fyH4jl5/dznXzI9DNkCAROss+bGq2p/5gayFcSc+HcO0Sh9S29BKfo19X+VHbBBnvfiQ/UZVsysAqI1EsVb7JWI97NMFf2WIGIDEd4usGpmmOKIjM+j3XCGoURHq59Pe2oX4efXcbNCyogKBjvj3H+a3vHjdcIuuGs76ZcdDWaskJIwjmj8HFUX5AlectJzQ0LdYUUdWMV3Tk24KpjAOhEv+kNf9jyGi9prUCg/c1IHG3uEQN/O6NUMFwUPjcDn/dTSq3JCZXpc6wHL1sRmpdiN6meCC/wPjGS7iTKSy/YJ+YXwR5q67qCEhj33U7eipmxQGVsfKKlabPG7iax+GmrXeGFhOlmismszPD2ljkClTOSF0ffNNoKWvhrg6H05biZXhp4XNsE4tePzRKdQCnPRjvKEkWlWdzI8aBNF6t9uM+q6mA7LRF+q3TImi5TzoeQkCjix/pO4GRUWY6jYypTWW/D4SYaC/WHUJAzXy9CRarSUPELA0JE6CjGJlAxNGqtmlIW9UzZqu3v+d6+uiUw7G4OlJu9pSMFkKOYv11yFgE7QWo1VIF8kNajzcnOYKeWpDMOGA7MKuZdKMIFpuWEbAy5ezXQ6LX7CUDry36/dJWncXJhARACijMV0cbTCV0la6zUzFk7GGiPdkcTVxWi6zrAA2peDZsKpAmxV17piSxueSY14LRRiTnI5XjPglMQQUl9QZIRTX9Dsb4r9JMedTwk3rJ5bh85aMrZnSqz3aXe0h4RfT7kAAxryVWC29ioWTmY1vXD7Z+I1j4Qt3KSqDEf+KRknBawVxcUp0d5qxuBEZ+5odbeRV2no4+dyLMDOBtD/r5ZMndDdUZp9H/Bn559voQXRzT6RSOav2yAKOCK7JJsnLhIiGMNdcmy0TuysJN/6Lfoov/zNW+RnIW39gyw3Npzvv1JIHJXHI4A+8WCuKrrttNxMO4Zbj0kv0PqB1VDi9/beszooTCpn0i6XALX2c8u55faXRGi/ytERdwToSgpwqy3U8kVnK2C/ScbZ5tQGAk3xogy5RgQ0T1akt3l5suUuws41vOtkU1TTExCuEuuZoLT6MYEu8m0xdbOkfAh2908/3fmgaV9+KfeB3yIUGZ2EJwNKZTq+T4xTfQKq8657VaOTc3gb4sVo11ZnKVn11n1j6JdCdxrBz1vPNTT2OvaiMx481NS+DWypudQgtwYcyDCwAyXVRNrcRXZq7fuUWd0r8KQMRqIwmn5u3eWH17gPnlB/rmQte01IZ7tGJkv88rNQTdzWDjOfIQgGZWcLJtIU9F7RVrJpwhdh2f8q2rXq1CY3qTmzNcvha8VQSu4mdZ6P8bLByfVsbUH2odIu1gSh6yf4UVfFbNXX9CroUBbZEEWETFLlnD4O0OOuvtsc+pSRwTHkpDEfxD76eUXgTzuU9TnX15ZLkBRZxLB4sNHoGYSABwWa/0uD0EusSnRwEBHA0IEZi/c0QEcAVI6zOJlkY/BZw8V+4Ips09h1uJhSp8lzfyqpnWKkkltfzpCcKLNst6yLw5e7YC0QnVMuZXLtUmdKZC59OplOjU0y0tTrE/YydLdEfE5JdairH0wTXxeDQE0MkToEcxdG/W6w6pg1GrsOFq2P+fS1vfdj8zR/X2AMAkfaZBMo9t95rYKCBGi+l/zf7auXb2HU17+ybZM81222puvjdKtDJYt8MXpxyMkhC1YkGfoOP0n53r38tYoOgfR8oGPqKkodwzyslScwfZx60vTNY0LS1bS2LrNb9A4uuDu4/xnW7GcaDKJmYh9VmRa9BaZrkWMZRgkutb9Bt+0DYqSlu4D4ebESP/PpXVPAb9nNPdz+D0sof49hUVy3cC9FxUR1+9/idoMI9RXRV5njHBykpxjKPVqaArTSwxwdtemTOtq3Nqjr4AtMLjHFGhe51AU4WQFM399nGD5GapUCmiEBiNcSwan0UGHZExbirwmjV4lGzdx5JPfMHQAkJcT55N0AotyfBRZnZOSx0JKKMXyrZaUJntOfAp3eNsBzldRKElD3IG0lIN/P80k7CK4ZjWtvoYz2H18qxp7/ykOsH1ZwDvuQua0TEAXxzukS3P3pmWGNEAuS9zvCqa/2zaohIaQvHOzvlpZAhoXXiamWj4byTF9F6gg9Uvoj2go6WV6ELTyXB4uWJUxbFw+W7HuXlff1zPRtD0KofK7DOkTdkRDAMdZFK7znjNlNH/AzhksSRfwOfM19VwRAGtcbb97RC+uRqeHJ2rLFgRG1kXCz05cPKtvTcd8sZmUVullW04fYOO/3mVSXnIm6pYCkcb+k7K5md0esXMiV6T0eIkUfEgYmn8V5aKGs8hJRTGZaxMuEC6/uMnP811viy++hJrIoq6YO2fxVJECk1XHc7NTubetC9gCj49y2gPkIA4gGqFnL63SBOu2seQVScDHaliqZt9bpBxJ3xMFkucT1mQeqx355VYEyNC3O/nMaVYXCYyTDJDJJG0Rctf/CWN306pFObYbWIiLZvv9ob9GunVDR6d8JBAQ9Pkvc3l7NiMZjp0OmAq2koLJ0CeAutypW9ZzUP52z8oH5j6KJ0Jyj+NY8YtiufDb2Zuu+ToSssnle1pzUBPfEWxFXuy4m6D2mtsiNATpi6XOu7EuCpbCMx5832l3OuusC1XB3ED8JO9h0MGjhrSVqWEypf/u2WMyAQcQockma82++s2sU45zseB8sDo+C+vsujUH39oUSlDva7lx11j8qVgzGsv7rn3OQi0gVbdE6LjfkASDO+vxgF3Zgs2l2uhkXjfPVBF0768JVH0RPQu7/95cRYTT6nN5bhc70zzlHEMzlBRFU/MngLh242JPrL3N2/x5k9JL4xfM0Q5tG7F145JrbPtjyg8b1ZafLmtX3WnAt6PFYOQyH60PYfdu6hKPv4KuaUk2JhSLzSqKVRZiFYADfccazYA3oQdZjM5QOhm4MwZYyi+szeN642pVlMhgFOFzIBOL8X3pPfpVfRQUzY4Mz/0R8bO1R3LzcRfk5g5UYTqrFT/VOvtFuPaACftFlOQLp8uS/a/vVDiDuRNqnVjbhoLwBT8kkdVp1YFI9zmqEpkvEckbMVwvf+0p8o4qQt5ljr2ZYScGZoCxTRew/77Qe+/BrCJ7hu+hgcnaeGhwoinCfDyW9nrKsE66LKEg3ayb+2ethbMIxA2kIoB4QdSmI1VtlV6m2bFemSfsqJb8PdGLsrguhaWNPg72LS9ah/C9otJGgwE5ikb3BlbgHaCp+OeoDDsgHOWa+2EEUz1NxFDNISw+/bDgkH1pyG72hciUuIqQBvNtfLK1oog4AP89HNSVdiaT/0Y2Yohqotdi0qtqiaxBUreWsBD5oFs/CEkk5fhznZFLz0rn7YCBDgQl3cgdUNtOYW5VGQwsGQBCECGXeMI0g60/AnolB8lDHQNrVqmAo3R1sJ6pjUHw1aNJ83HxVCJtH/5+FPjg9I/mSKumP0POaORFE7RHwbTo7RUZE9YsV3oNlvgMA9qkDZY/FEvUAOGbzbEQKxGuozvp9OnRKfeY2EJS7UeKRzaiLdTBGMmsYs/+6wXxVSt79WCT20C3v+HwUGlG8yxZzXCePowi8JK4aRTib3lSGO7krEek2JgYkYaFJQZcv20M8sMv0tlov2uR05X4i3ajPjvPxOqO/Hv1Jcqh7tUBAwPcap59Moqx+U5D/0l7wIM4+WPbUQ9TpRxMsCHU0ZNMtMQQb9FYiSVbcU9ewLu+If1aNonDntqdWakMsgbB1nwHNJ5WWyO4QAksorAqvD8Cshko1eIn8dzExb8BBBYAsp7WBoX8gZuKoNSXn7bSGRd1luyK1Pubv7vi1zEDM+JFy6UXmC/b4SFxUyAY9ciACgXmCzpdlb82NQ9MLf9h1wDlNjb+L2K1lSZk9zaeTH5tqXb8w6RlRdjBadvPmEhdK1eAXiCLJxrPE7HIznZElUwOdUdqlBOPUJOxcYBirYsT4HcDIMnC45I02udQcR4EOwsdJge9Gn67OrGssboETCBew11a6ZIkV8IB4tbqEooYBqK86HW8uzaS392ni2c0qhdiIE59My375060waQF2erCJ05pOSmx9qbjD2dov7nTE+OtcBgMn04CCKePta+wRMIFQyXleaUMktnPBFuSIP8cSfz4HOmwI9ncIr5oyTstCQQ9KuTlq+GFnuZhKsaBVLShLM0yn2GKnMrOx+3LZZ7wF/xz8RuXuHrNnqDIezbcIQ3bC/hhHY135AAPdjo4UNcZpdhVp/IwTcrCSwHfIE9QK8VF/xUIgq1w8TmpTwSo7HAmy4QNf3Y3nHrTSSN3Cnl3Bpvkozfs/WhhEkF/P6NjF6g8ry4fPCspWkaIl4Ty0RY7/TGjsA6/8px32x6OT/bjgqNWN0DWJAKNI4XInY8hl737O/NtGjSDXdI/l3hIAQmwgT5jbCSjFiFgDnXA2Jha7twIMrubw6s6XSgcythXUIh2vndHc0jujxA459tIdLJl6sXOLRnieuCGKAO5soEu53GZ9wcJfb3gFjzcqFlWFXfMGE/Jfj4GZmBIHbxbxMAu4cnUYTxlHkn6M9SruCb4qeYVsDvLEIarWWSm1AQ7Rb1nlPC86S5w1uOeVcBhDZrQMYxKtPJKf58cfNo9MZQi2eTOtPjwWGnRm7cznFt3tNKha23hMFGp1C+cyIL60wh9WuVUltQ0mND/8CKX834caQIJvjaqo3V+pJgzNKwR99RVgM2LHI4Ua3G7qKAlmsWV+vlsI2j5/NprvXbBhV/VxoUSSmzBRhE7DT/K1nMusdl6cIJ/Xn/95Dc4v4OoQQkHd+DekHEcIdgXADtp+A7ida8/nTw81qArjoqaU7odhhzSbeQlD6vraySr4UBx63odZJihNBw+uzA6G4XdZ8nbfvzcXSIqHG3xjy0ZYLeRbQ80Y7y+IGooJywAyn5cYazz1kJ5IKBfVy4HdmPaEpDIzAYm45tY/r4PZAiyVJniDr+5Rx4z2BnwmvmQ+DNX9uh0rsrXt0guGISZ7SB8spf2HjX5k68JaSHnUn+HXPdw16Z3XFnlV7755CD6/ECpRzcj232C1BXO3ei2P4rOWqcdJcPYndtX5dy5hv/yGPEx3pSnMUFCGOBguyNOWvyKFqr9FRvzlaulc/sRcAbFWnKcp62PKGXZJmnQmRiyNsTvq7jpydkBjYtprH7qqZxlrIyvtxY9Q6p/uKrECBYSbmAgzdTuLPIbew6d/e/n1YUUSK2dj41UXWL4GIxdAzNJ2pc4unwXOe1L1WdJfRWgDiKrKWeymL5MhX5kNOG5wzyxocUJ7J2rrBzFbG5dNfNvisSynTAuMp0oE97tsxj2970H2c7iM1YyFtDJrQ4X87dNc6K9x9wnlHhbx3nhQP3ILODSarb7dAiM/0Se/cdF0dunej9s2tmjS5fHHoddgQw076gi9AESWM2MblfvjP4vIJA3koPZrOeUmUla2/e2BtcJctFph0u8hTfvLiB63lQpkwxdS96JHMZ6ZtOMp4jdpEJ/b4vN6s+oSVQZiywVfKVFXy5Ow9i1ng0ZWQisBREhFDqJu/EBqFzF5+Wree+LHDd8ZZ3u4thlifD+ZRoZ+hKwM7jyk43gLlocVg+IOcbs+tvoo+sZtCE3Zx0YRs1AnwqSCcuqN2R0cXIExTn5ocV5Tysi8zaf5bgL2uT8bofhnZjvWwEqJF0pkjfmWtUqWchU5qYIO8lveMa0PDGZAz/B4XdONeyvvwQ9ju6Ls0nKgxG+uKw/ldnaKnod9LUchdrcN8xgE6ZqFzFj8jpad7zYpzyyYBRo3zA6eL6cAAelB/oMsGYJuKKm/Ij2MDB0MUJYriZnfFrwayxFzUyZDGsYTPsm9W+sKT5oCCVcNz3zQaBjuxP4F6/of+em08gYCTh87SJG8F9U4Ii068sdNq+CBAF5S2y9RokSz0ci+5IM+Hzt9lKcyUrcfFU4AvYPTElpLyWQiypH5mIhykkISNdQb0n6oOzbcBwiaSGKETZapVWB+WJATqoTPhZ/Xg4GS5ZOROwdwMWpUaqZNtkvVMu7AZuodB/FK5xzPiNkoyCS2yD+f9lT9Bq4GCKfjh3sQbyJuQ16rRyBmBKXChPB7xFxYznRgtu2BG3v+S+He8R/uVI66tglFDJSpfIK0GG6JqA+E8IyNaqIu677XMaOKzi4Pw5gQprFsNWPl28oUrfBs+QsN7eSG5NSXkwV8l6b4qIF/gJCKqcUzm99wraY2wVxXtyWN7gA+x0g9wz4SaixHJ2Gx1ZlVRc5cS1Z72IKZ81VgtY5UJU0Q3CWpyojNhOHMrDPtk16OuLi7kW2TahocEvMNzxUMTS5lW4v1VayLGXziGnELKcpwdnjSuakW3iwtHO+CiAr3VeIxwwp/t4NFJBVUPPQtr/+l2voA+fCoynZrtXdU+fMla+hMoa1zryzKdbet+X/KWFUAAjqhn6I57FAFUgiWyF5uDnna70GX29dgd6rwVSYM2OnC0bsaVcmySyfUi84Khhdndx23KpwfMmfbuokde+zycfxiCgnbFrKn7F4hRt49nWQHKEzoEn08RU0wU8anbUdzvb2BfXBjj4SSg/FSmoK95s538urCVvamVDTCWiMJjfzh3zmq3CwNvC+VW+QExlf1/4/fSuFTGCW/F1/hsjbL69jvk2xY15ikrZENtAs2uk2CzXtT02ZZrF8osCeUgapLfaxqF14DEJi8nF/0sPj+Eh0kDtHls2LTSJQSzcz1BZivQMcmQNAAMTEA85Zku4olIVrQ8GdjCtddLWxXGVRUVsOpmpbH+6p3Co3Mw1FMWWDf4kqrPu6RXL35nKWWZxf+6tsc5pEn1YZUEjBks8qrxPa0zVxPp1SMVwGQXCKRAoMG8LeSlN6qSsddg3CQcaF4vb+JYhxTqDG7sWHJ6l6cs0/QVZtWj/Rm3+LJnS68GSqcYfWXv+9OMMCJMdQZAlXEO7bPjIwVnLCESJHx0T51GI4oDmaDTc/3i8Xsw5tXxw1ntrsDOBsNr3d9lg5yzEl/eVV5UtxQWeFdHnzo5grfn3t8EEYESjhpjZxp8LQgtCWRNNfPzi9ThStO2NQCSpFij5X3TsJWlQekiYaNVCUJE/0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2Cco1R//8tgM6IewbKFfrO3xDUXUVR3/a8pLzrAJRpdvLg+H10BhUZziFtmJsUCQ0Nzz72GG9hmL8yq4bEC9oAirMpJduv8vo7dx0sRPQ3ZRq4rdJ6UsL6qxaTfOSkmDrEEo0WxXGJuTiuzNb8Ilfav6z+9ylj3RM9fvobI0kDrHbRmeMZNO699riH2jvf7bapMjbm8ft2fgFx18b79fdv9kfqcRu3qr5+yH2O1WSwTMnBWUwtH92lJNuMJBz+KNSb4DQPMFakAsmfaggnsKZ+DsudvUqyhVGsHd8emvUZkYmAdGj9HGEeAkXo2VMfR1OK9IRWs3QMuCFGdUhK87zHaeOQo5WJHU3bPaNrzrOCm/QfmQKo45eoU3hBuVVk9CFeoAwhroNFiWq1Oy+bFZ0khvsNN9VaXN+KGIoNro3xoVgoOOqbX41dEpiR2PdTX7Z2RKLUSItHIbb/SY0vhPQq2ALj9cYbp4qJn+yl+tx9qu4YlNS0ZWIMF7sopfOZAwjXUKOd0XsR++VunwCALr0uqlLAQDx1LWyDl1wlTewsjiBiJHRFhJN2/Y0AUolK2924UaBxdsp26jgtwunZWqdY0tTlAKTx575+BVjUS1JvzReWHLq1ywfdMT43aF98AteJxLVvHXygl6XIBU3qVNumN1cqYtpT8Rlf+GKi025bgBojY+Zyt0NukJ2AES8is/kHp8zyEbDeQjZTMxLwPFOaxtrRKGfhYP/EaraQHlBCpr/UI6PxkFLtVBtAgrWwB2VR5Pqwtf/I1yDjsUGs4bt4LjoxVmkrf1AZmgFcRwQCm06gfDYD+DhQRmNkCy8RDOaRV/WmJN91iC8RvK1IQ9IKzqDhzjJQk0lsS1V5LNo0hdKR0ofu9xfCidYeGZT8q3XrXVtmzNBMDT+/muXLdH7z8ZlhraLq4bqIyZVT30taS1guXlLrcI1flVO8ofxnQrGiX2Q/+6VKoiW/PQ2a0QMkCPul/NOzGZTIgW1mP34u5UerxV9Ssmij9RRTJ2+JETXcfGr3ABpYGCpeu1Z+QM51AHvjdMcJfJSRMzK4s+0QaQpgMaUNgGPdm2CBykniBO5wB7Hd+dOdll3I2RmaqFWkURu0iPTHOWxOzKfgxN5eqPpmJdJM56AbcuXk5J1BlHj0HiAidLUHLWO0p5Zyuc7CPWhkdiLPhV14QvpRUCEjq93msxurPeCv7JXVzknrHt7gcgJZ24bhMsjftevSAjRkHucfeu0clQDgj0jh2UyRs/EWy/9WxZRA2ONkW90yp2QiAPBjZTJWyTvq5xjo4SrRSTQpLkrLTE9WGdDXywuCvfRAWS0lk3q/D00w7ZSESn9xOvwoQIChL2L7CY3i5IPkmze14U308hRWo/8pfOurLKYRl+9vgTF+VoxR/z9lSL33IqReQEdNWQC0MZPumEHH1O1r4wBBpqVByN9wPhHrtG9e1Sl7lfuHqhZUpCYTITuJikk9NU3hFGWaku6QlKOwKKJHEVm3b1aZKGflPUAsG7mW3NBj7YnETgwiy5n9fygYhaNcSD+0a5KNFeoJcFX2wOW858JQ0md0kIYySeuvJe5Evj6t0qpNK/N0vI/9hKlN7jqe1teiHQJ0LGain7sz8uNJAMklX8finakkE7pQXt0K/np/iH9ur/R53F4Wizj6bKqbnHvPwi1XXNVCLld59wPg/RvvO4ihN86seF2PZeTAUF9FfNAuzv/e/wxxeWvMpkeTQqM4AackLdrPAtECl3wDtTg13p5eOuNjbMUwMzG4qCtW4oz/Oa2O6MnXAEAXlJWLxBfJrkXyJQarRCYYcxr/lRQ23hldzXcd6pXpIkkYVSytIKt4hDWyW4Bfgz6S1WISWnO7RiIDm9pXmPeE0LV/lTO4pgMEBZ6bRn8RxpoHEr4YzV6zcpQEyhP2J8fLJCH1+hn9DSGL+FcS6RUcKt2DNIFRwLzbdgEVc1+LKk2i9muUklyiU5eYK73ipANRPR0sfiDliUUhZP4XD9PbUxB2j/yC2qTZgTwvji/FLcuUue3cepgSamzl+90L7a64UZVq3LwK1rCsAP9UsPSNc/U437X4YKvIca0R5zR42QdEWJoSbDzDshv/OT8f7TV5/D/snTwqAS1kknhdjEYG0Tw2dnOytW5xDvPt09Bi0blDXpu4o8lhWFuJyYnl+czbacULu3b4akL1vBSNb8S6IaUkVFoa3FtG6n48iPymrNcB7kvp1AsDl1IM3XrilwkIV+RkSXzAUKKuYov3XNjel1f2fhSMVmJRia9FEv0sYegtrI/9rvdSSAIvXRjrMj+ZNkZHv21tEmcH7syyNx0o/B3vVsJ+Bdl/SG2rSrNbrDvs4w8Nzvh15dDkFzNNrbcXWLW9vKP/z9768ydBAyA9XbEX+mO8ZHT4tzFbMnQQhtjTZR2kuvzJYXwFDpZ1eJLGSBQNCfYXNTNQCAyGN7GvHW1b+bcwUjKPo9lSbaCSixcp8+ZyEijU47TB7YCfBg9L1N5MvYg68xU2siB+ewkB96R99R4WqHCtdQF8+BuVZZ3B/gZA6QI0IgR0G7B+zPl9IoV2/UUotKCaqePsdqTe1BqFKxdpp8RO60owRiOD9CFV2EcqtOssxZt4GI69MfT5bLUT5zYWk3EhaoLmyEeKMuVEuyjMTu44LCjIHbvOWLQXy2q9qcrrFeM61yGJupAUdPyV0ahk0n1/a08X9Gbk/bugMF37h0ZOlahrtpBrVRirPG3ozOc3z67tXZCShuxTnvbIWF6bHQewwei35gFzxw+lzPr92bEBEqh0OJSlnN8v2dNUS5KMQgzVzyCK17D4a+GshzlRLcez46tFBYPuIuVmKLDQjsEoSkKQycDFUtXmQ3pEtIZ086wrHWMbS+KsBeh/i3538UlM3grAVJzKyA+7/YGUy3DyLaefgg6QWgyhVK8zK8BjVyONDfEKve8HxKkgjSS0AlxIgrsi1/iY6FBMjgXkcEg+NQp6JI0HSg4PkO2d8IVGiSUVtDMELj3rnkpYkFFGBCTist4/A1T1+HpF0WNM/yQ5DqHwFhxEonCqQqzVhVffxhYTZ7D6dkLEk3PkY4Py7NquCQDDJmRbG4dAknYsLD8THrMGfPLVXi/JPblN0nVfR5AgXZqjwak5guIT1rzCZrgPXTneH013/jdcPWv0qBiHhXqIrSa43LRLBeEbhbTV1Ww3rlNnEbxPt42ubidSkI0qWYyQnffL5fcAcrd1qwoCaxeSHSzbd8Y4HO48KY7PNl7J+4V2JoAYbbyOc8DrVIVXVGrGEZr1JJIt8lrwSKPZFEDtbvFtyr5Uk50EwqblFzBlu1iNUUZlK2D+Mm0uHH1AivLqYRgXntoJIx9QVZFda9dWoGDlGPJHpjWmKsLGJx1rZUJCENIy//Jno1YEIkY52/GziuoaDjpOSqK9JNCWWmL8lOpkoJJ0uqta+PEll4vdLcSo0VX6SmMngCHEaXv5mkGrZUEZe3Y/HuuGX1gYnvPMRvNQwo/lJK+b5x4BRDYcWl0Vlg1oWo54BmZBJ1IrkCYX1t0Vz6MUQtihNamddgQSiihXY+uYHu+isOQSnaNr7Kc7ymEOSHTFGY9/SmlnyJ9iKenSvupSVHWMKN9FMFSXPXn6vItZs6s9QIIv/O8oc+J8xHLl9Fe78mf++PwNVkXMeugg5E7nKB+mAnGcPzb6Jjbx8flY31fGKF/sxwIR7oS/7Bw7RoA2SuK5PG2FbLYnp3VqOdaY3Aini1anzLSAyF1zn2xSmCt1JegfndrsnoomQxXpLs4C0l0D0jCPeIQrxOow4Hm4+2bER0waUy/FZ2Sc9nQ/E/oCgkaC2TUert7SDauNVDmLAgd4QkEF6EYnpTCRt5G1uj99bvN3wTu3z0eTjNl1DArW4ZpJAl4AcRtnMhKRNFbI28v3KYWSvXdIv0ec0j0ukJ6TI21C00Sdb5TcMZkv0BL+DuUxBHUscgCCpEFryTGNeun354TmNbuYlyyGrGP2Skc5JbOhuQLzmMTw6Ee1C8mFddSh6T2UR2swvIICRU8Bw6caPEZ67FDCKZ+IQUDV+wVY885ewtVaGTnw/A9d2IZWmgaXKxZ1aBmy0cG5mSq1J8NCnU6gX9/79M6fWgYK2rLfEHRN8ES4eI+HC4cHCkKQPaPNotUFYsJjOd+6SJPk3Tto+ew7LHRbObu094pUROVP0gro/VMv/EbgIvuP4CGyCK9qnKkUP41abRyzA4rQqaAMXTsWoIQyBULs8r87Wq8kcqFD/+yXGD4akG8HzYpJy80Ih/E8uBUcZ307UYntkUNTAOA3FGFBZxJzwQKr9m0EmukuZ2NQWgZ8C1VwxG9P7MUDD8xtCNNtwKkUuAdNnmfwXuFXfFyPpbN/NKbL/pjJ31mONb351EilFVgXF7Ey2YW0OQeqCQ2vLCG61+JYFmt66a+ASu/qUaA5H65y0Gr4Gx0mv+s7WI7kjVbYTbx2RQSUSu5uDtwAchJ8EvS1MclipR4psrrQsgafzLcwfPkFn6WB2OOtCllDs14M8N2qwYjdAmXn5A6hobdzvyKW1AG9N5U8S0LrJU0fVMS9Gf09//fURM/t9xECBeyY3a6a0St5z3OP/LFrWza6LoJ2LuM7X+b7gKImVgCztyp7XUbCQVuuewbA8q8FyyaaKb32nY2ay8hiaWz3TwRwCqUJh5NG5yqMEWcireCEDunZPs7D9XOERUO5KlSdMJ6ys+VeV1hL+JBPkUkYm1JudAsqi5V5HLi0fViTpDemtTmdky1IZP3yaKDTudPBJRPyTydZ6teeIAZeIuOp8IzhUF26t4mpkgknmtLiWWsCVVd43QzWFpgAo0w4VNa3GYyEsSRpbKwGEFnypt0Sa2XRW32pACkleNRjXXGjAgadNlm21mRhjCmq8cPfPPBycubSDwMmfzNhfNZZKp+QfEL0X9mJl5o5D02LfNgIqsli5UxDsZfAv9uSBlrNrwPME7pEweaJ6WfyftYrcc1nezx6VphDZ+ARoOObw8BEltjwGzFV4QdUbJj80PqMcKOSisFygviacqqTPQ6EY9N3MU1LbMvpzCY0cvobqW/jULm1EPhafMZ8VIXFJ4btCfpzQ3QmBPSEmABItBptUMpwLPwp5rPMjQCjmtLTiM6uUaY0+IKvlunJj5lS7JNXtzBzu/UGyBbYW/rwM0L8biII8PeAVA8voouqBVk++X1L4oNaFXxafbLHf9TtTWBZ3gmICkXKr0yvXzSj+H7BPhVH7QIRziqz7cve+xnoMdGCTakiRG54/BahhD4s6lI+4oQ5as7yI0sgb/J+l85DiwVe3Cnaw5gnrJgxVa4OUiRjXpdwJgh0NPMq9sXJGlYcqN0lVBditKRNoEkGTKAsAXfG4P7nVqO1hl/fbie/t//hf4HR+C5pLuIwyxc/LIGILYUowjezhpBZrIu82AwulxkGccLjMWwU5Y1bKWepiNNDAIPM1WCJi00Xo50pk6lyHbjcruC/oRwja3+d4bUfFLdjcYvzWkkL9N4LTxfHMaHiWlMwBeppQ0sdOX+9KP5CxMtY/n8eOYpLiLejSstPnFQfKVGuyuUmOlaWmcZ9+ORfh6w6mldrbSCefLPvREtfRGo2Ra1gls7KbrF9EyjANA7ZX/U+QCbFcUSxQh98bYeZY7fT6cXH6eevdGR1iYiv5jFXTY+QYnVjN/SGZfO3igmMuECcCDsiuwQ2AjN1m3qfPDkhDjs4JtjhfhuelXBSgjryNlllM/K1BCHvZ16rzhZapE2V9iwDrH3doYoLPUz4hbXn2PmpshOEPYyW0ici16xlbaUwSII39oc0c8R5WNxIQjVCu/IeiAD85a05Hq6m6Bl/GRCMCF+cjF8uz+gZ9ai9tBzj8KgickfiJ22/KtwvtuynjJgLxOIhZMUcjUq9TaU8sMCapoa6+WdB2Uevw/Il47JRfmcFpqBoczes9oCgyE5MuZwtDG4lE5TdVeOch2o4mFR7qHv3IPIGncefY1yheSbJ6yQ+2ZpVgL1OS2jkK7FSC9yn1SL0xu1/oadJrUzHIvuIMsL0sjZK4QDeQPnE9mlDQJJdH1G4/T0smcVtG8d+Uw5WL5dyaWvtd95CBoYBm5hcFFat6J/AXieD+GpIrpYS1u3fK+9TaOwY3Rrn3E599hqNR7/6FtOh88tJxhCsiKLvsXLHASB3kVUzZcl650UFvmDy8vE1lHNBAHGOea5dxrF0Z2C+7nG/sKVZ5rhwcQ2bHajUKDGIGxpzBrGLAA7mEtO2wWoQD6sK7CnPlRuw26VLZP25M3hLvVBnRbQzzt+1RNVzDHKnd2ACc/abYnp8Tdb5uIkvpotSspDpUPuVcGy/9kMhZKZY7oi7+CTJA8HEBgkOKPS4cc++tx1Pw7MZ/oIfGZijuH2yedoJZZNl82oXdcY4b3D1IeRF3yPEv+s32YgcDcDtvnmBI5Q5ap9btYtOlbB9TD3eH7SAVVHyrfkphlyRhYPit7m1alyHciLrf50iXny4MzCgK1cPpr3YWojIgZAAC+PiTqsPJ1VjdeM459+7WxWEMBIr4hFi7GlHT4WMNU00qqgHr3iTFUcdsnnvZVIyDSGfQjozFCvb30oCSA1eCvbrh4FGuGCGk8Ug6EFgMyHUPfcef/fyuQp+dVo1MAg21FB1osSTIuuVUsSD3LkU7jnt8KuA0bcfMSf87oTXTBmJQ+VRf9Ep09BupAHLlCRE7grle299FI60hXAoT0joKx+wNbI3zM25hWcquAjHxSDzGKahtVi2cdEYW/pkDEW7zTCuzJFg0fyNIlhzlB9+spMLy6wRPCteI2VhEFsL5iaBbZZfkbyzmcczzh91az2Q6yYhf/8ydSdLhX4DRFIkEdM1B0z8x1VZfTlPWsAl7TGeQOBP0Ew5sRi3AuZjHo/AQ6HiV9/ziqW/GM979Y4kaEbotEOj8fK2J/B7kDdoN3x3rqQpKwSZUPnsGTQEewq2+3q0XjIdVe1fuxkKljcoiY95mNkHtggq5W0Xso2d2hpl3YTA9ds5VJnpQDdZKeN/3VQnWgATgNp/b1Li1mpiwnZ63Sn4utLiv9ADK969eH7xfe056kS8ylKmvVsHnzp8OmJm8pEryVZlPFt0yWs2s347Bv8QJwX0gUrw1kQPeCX3/g36cNIZEquOU5bwv1r6FUj1hq9/nBdUWOfKr+6h15FEZdXoopcu+ysl6aa3t2aHchp5hq4EJs7V3iotFohaqeaXWJVbqgwlew9AoDFcUOlxOGEWtUVcYT9r48SuLV9WjfUkP7Yw3GcZVh7oiA6MZp2hRm1w4WKkpWvZiUvqMnhNFj3V3A/NdQhVjxJmpm4X99PTZPDQtUIl74QHPqwWhB5y/kWB7KtNwzPWzepCRDrangRk7EB5aXfpsexC3IO9TQBIFYXHu37r/GAaNuFTBFJHwpnfSmNPtrVOJhNu17ZpGooGkuH/LSNGctDvB0eJL5Ye/T4LqR0KciakEGXHtGLxsh8hSqbFvHfr/97Juqq3F6AwdBxDwDGt4nlTzK3EakzXJbEAkvZpJ+pI0/8tEn/eeIUx7ydUVVSk5Jxwrb335BHjBN0MLDfiPBgySG09NOzEzzhjzkIsnYm8xvAijh+XmWpU3o6DgwU5KX6DoAia1ufn0l1CJYG+6AQNVF9YOBXxNho0PHDj4wKAyyI6h6QT4JSVb39VbHVxQqqRw33lEjF8i196GmmkUo10sDQjn7TjGLXWtwOqzIw7lMqmXyEOROf92pGrDYwHrjj3GM3+wRkEneQkr+p48h4suCtMFuptBTC3xUWbpsdaElHnoiKh+pr1pogxCAHxewNkJGCKieLSokwUJE4uqwArIS5yWQ5+jboj2cg0EXM5mZG9x5WbN9oZMNnJ8DxuH3VNgE8MR41M11IRBvCQvcfUDDJDqdGeRmJ5Ngpdi1UIw+izwwwyvbG8Q++TM+jyZ6swNYnxezTshgvDL4Bst+nwIPWY5ZG74gN224X3JGdDN7Er6MAUJ4PxYCM6wW8eU6Bl7EE4o4uWJV0tyOnNpbI3ZxmArVrGRX/8DcdRIlOwB8Mql1wJEH9BNg8Dw3huebcVAUUSlMb4BBwknSsw3RRymXxQULo84lnAue/4db+TPGRg52/fVQasqYDmG4UP+cOIT/R5oJL/JYULG6Npfm1OLpDEgMyxSL7UtxtMN8EHhH+ZzMOnHNg6J1xA6WcRCKGX2SpUHF4fUxCVWSoI6O0fn4+5Hcpc17ncAlb1XhfUzaXv/LzYFdpDnTB4AHqV8W55JymxBTvcPN2OtMf1Xsr3Qq4kw3WTBhLpHkHJwFVJ9IYaz0BP1LxDbr6QW7PMqTrLBqxX09pRqHyaoUhw1EJ8WVMdj1AAve9YWJ6mFjXpprq/9XBU78pQlO8xliPhAjabYz1mIJkURNx4agHpJbgAlv8OAEWOF8+DRleYykA1antbzAZqVXWpdtDNTwhzHDESAhwS1skdVH1BoNZxa81KPopcJyt+r8TCrnheg32HM15H2eDFt8sjOH17dLJu04eLZRr0qMn2nPf1+LR4ciGT/yPc4BW4oOEPw0ICCYYuzjC7D5hfeJ4hlQ5+eWM1qbX1PYbFU3LCpHI6DVs3+njH8V4cRSqVyAhBtPKLAQuDmPL/k2PJk74ZdlOOucN4FzNu/RiM3rBmeKLIKqOkPco1BALPBpeZKtPrgWMCpEHdTLuUSJpcCKWByi+94JfrR79lmgGfsncwD8flwEqta2gfjBOxGANjfE1ecvDYM2ffpU5V7HISm+/OUUmJT+yb0HAm4sOSaCoEC0L8OL8MbvZBnd51MhWI7/UwwZK4mEiu6B57cTmdaFUdJSFtSbi2/tT5IilIbRtgLvob2zQ/rDzE6RQ8KLjnGOHmc6cbSTBCAdzXLNmqwBwtrcuRKogFcXhh5PULSHntmuYAg74XCTHaw1Q/dDKnGkRcKdtJdT+EURX4zTNJUKZWI7p+kW/+kAWQ3/P7jb5enEzJAjAgffU8Vzmfc/2VBpEfIl/SFqE63j9nv/vFoeSZKj6v0LqjghldmBxoxFBo49ypmDfBw6ZZl6o05a73ZNHZULSJneLPqRyl+C302P4jAEwskC/7/MlOXmaDZQfYiZYHjYwnK6wFQVWTg9r9DxUdZi+lEALy53B7m3lsrtqs8wEmc/6zb97aOIESeGcxf1PRHOnpH513xWSW+U5RPndedd2o3FGfxNQb37hHBqcg2kJ8k4rPb/Yp3cQnQ075s5OVV8OUSkoQDvycWxHS1eInUh+wp+RyYdINY8lImPgJw4NKjF2gR5+H8nSAierIsLNb+Ri5wCJ7ymwS6ZPLVMbY46YEQDdKbNARIUh4vmdE5va8pG6REFpDrPwbx+6f+3UR3KTJiERvVP/MSLB6H2ogsnq1Ok/OjGS97s8HhHBzVkFP1GfHIUJwFL8aHMcXSEXuopALjiuONOh2ZbtvkjMREqzJkBuPJjFBJCEcfL8Ia75zrZ3VA8p/tEPkNI9Qk4hNQtL2pBDe1K7+PhLYMTY8954a0gzoB4jJRj9y3R0aqhrYKNO5j5+WzrXSblPbfILi2CaNPCyZ0+8jqSpSo84hmCrdUaGFai2ZmVdDlwKcfN4g/B/hj58gNSoZc71iNyIhw8qCN7rhicaAryoGy+NPpv5zbKL8zMvKRfpA4zJtxG710cpxXH3voB8tXVd0fdQoqkFOeN0MmefvXL/BS3BkD7ONIm/QXR6kZNJHnXSKi95jvbTZLGsnoG9dnvOs7ZlLZub3OHxXd0Vn9n2YMzY8uwDWoYzQjojavjXdI2kBqShID4GmVbfG+VbgnMO5un1CVF5CYApvFGFNX/fBv7cPzsNm/sn3P51GuBsLcqNpzdUDFupv8BC4OzE3f5sbfpfuLtCQoJnSS27PTDpbMsAAJyy2OGtjIbRXvikRlLPc1UhmVQ9j+ITzZdtu3t2CZ24dU5a2IcPV8nMwe+7xzrh/Y+9PjdDkgA8N4uyp193LMynVWfNjXZU/9UZunUx6A27d1tI6WACQkLOIquOl9VgDMvKbWsVcKyBTTfJeQaXfl40m6CHB6npedidpy8ftxyoE5ADqIleUQlTmSiL9K0x0djSt3IvQafTDHTtH/KleuNeTHvTAYV7+7eIF7T9Ms/4Yfdfx62lVi+Z0jYAHZvfSr37CX2ovMxUYlC8HTlMLQNal5drHPfgWqDLoxgOVT6337QtOk074Sjc8jAsTKDZ23ni7emdOnq9BzMKLOqZhYb1lSA8yb0/IQpGtduG3OP4J8HaDjVrMlspKY/26hbkdgT87NjtfnaciI2UefJIv8gnESk86aZjk6GwOVO3SQ29iBy3AOk7eW/HJ3RUGCV3g0I956xdLY616KN5M0R9W5utFjECoOijUcdInHkf0mz6gpFb2RMXH3MB/Edig64GvQ/JiMSp13vhkkq3MIS6n02U6U7YsrU2nxyOvDUgAYcPFIjrOgq45H679fe0veRDTVNMHkMpvCDIRxQmwT9YiOIdNKADkoTcx5k8AcJPw5Flpo3xmFs1mZY5ugwO0x251PMxn6k2fuaVE0n4HB80/UxwFiW7TPJsQD55CWqOyCdOi1zUv6G3Kd26TpMOnzTYJgg65G5BnLg4iXuiXg3AyzlAdWKgPqD9kG3bZPRmGwGGdNISeX9unY30bGc1YJUNswAfen9a1kxFG1ACvcYcTflvk+fsfY2YU6QDArQldYwPeLYVF6LeMEZ+NKwNzZNqjHbadlRhXYf//UIl5d/OrNxeLmdQnd2dX3853DEGc6x78mZxx7WrPeCv19Ygocj8SQCbdFAHcTtqsoWzpwcibrAD41wLatp153RoL1oZ7QWn0FKk+i2kcCT4tw7y0uWQ429GdIDdT1vncrmGiKaHdtH7YVZtZ/DjDNciigl829e/MTqQWGBmqlEjVNs9804cNi0Cm3OLKlkdOciTY1//RmjdIwexh6VXrDvdPTCUqD7x7mxjxCCQx8Nw7QjUOOz2RJ7LI2pAMndV6xvhhdrR8eDXAwjJUh9kRyPtDjYxsmn/rhYf8whXbtvp65mnm4m05Lm+RJ4ail/lohkpj6I2MV6DeEabK6QEh28a0PO6kZQAGSIg2Eo9+LN1tAY9mcC0huxqN3ZpU7gMNVLJ4fQjtdmGHTUT8yGsPaSx3brKiBMbplOyDHbVEoPKT65gRLpmWbqR9DamuMln44ijwNDWh74tE+yUuJObK2dAbXr1RVbMnCIthRW7vUsNnJPxfPNn7XuKVbLDvovp8xV6A2VsB28n8JwA+v+M23ud4HiO2mA8Xi3PoVH4KgFWU+HE3wNXD/zcAXtoPE5SeUNpmQPvaApam9S+ROsZe1tq8Uz5a+tXShC2XraWxLmn0QtQRxwm3jroNYjGT3xB0PEv0Z9NK7znMNKqVUGjxBxBQqHFXAVl+9A742PH3Q5xtuUHokncsv0Iu9tTvnWhVSUqAOVRi2+227ZW8ZUsMYFP+enPq6R4LBFDa7MRklTKlA3GWDcr240H4aBMlR4ZhX1gVkeP6+WM9VlJ5CYmK3AzDvZiBBigVKK+kyrvbQ3C3/mYMGV6xmYF3laPiTe1N5h4F18SRxAf/hKNk9+6ed06KEE2CvEdBjTVj9o2qZDhh0QjKsODgXKhrpCUcAYum7gjj1wuuRsYXmOQ3vRDgIFghS/DwHCuLh9MezAUBlOQk5yAnlODp+AtxxptQnivf/KGjzM2MYa5S/35tjgDePseKzoWzacNaqpz39kAUo+gEPKyYDH5GIp79zjIMRCwaRJKmEQcOl+haQbyaIUwoOpvLHaQSG151rMpHXg8dC3R4KNxhSUQAZ+KrrExQFsbcqROj4lRW29JrYx0WAn1V/8wjNH/JFnZxi3cVjqL8DWIOGfPiL1V6JdYXiaqKYWzVf05rGXJ798Q69IvMfjyrlRK72xPTXysNYLlc8PBDHLS5Wjyqj1Y3/HiWbqRet4mdMFlg05WSD+EzGRd+ri1s+bXkYYny45BbwTFTOXikOqN0okukvGaxpnV5+ltXkNgyHQQleHwYooKwiV+kh0wYZI0ggZIp+MPKkcpRC0PwnX1BQ57VhQoyiXzOkKhGIjkAMqat45RrAHlA/EfYIsFkbdSD8Y6tQ7iBBH1Tq/Iwg0e2FPE2OIKGUDMneyWW67g9spQcOy+nJjdvFs4EP+MKNJv/mpkEFPCEFAPOadYLAVtg//yY3tQn2WykbLRxq1QScwZdImMfS1IiZfK5ElIYJE3EBEnTteK4TnzT+lFfyrzRnQdAfTtu2nlZyMjPGZto7RB0fqZEOGyE2NJyVYd9+rqVHC+WNMbT3A9D8WamUINhbueCn6XvkGQ3MNRntyvF/eG04m44zp8mqZ6E5K1xtlY9qvl06MWzJKzlEKKaAT4RWfw0csa+Fe7gAlv83AJnv0NPhkuZqrwEQnnj4ANHZ4pWXW61rtkf69mdZTfvLi3RoE0SPSlj8CciiB8HRpniCAq4zQfzkUKMFCsgYek6y9vpLOjam48wEi3PGDILsTgiJVMvIZY1qv77P7WEdm+OO4nvavRr+Nh/oEIPGN/15E74bGzFK/MEgElNAZpbcLODHuwlNI+C3lvfUX444Cuqbzy9hVT4I03zf9t9bKnN/qvDPP3pfV8ogjCu3khjSvarvW46N9Sz6URf1HfqeFc0h3bG1LCqbhEUtupWlXSKyQFFH4lz/3pN5P+TXDtJIWQQYVcyrgjWNBwv/TAHfnJnMoykss1cogvZrsAiZbrSZylFxRmoaEjJLoylikreVJun9P/v407R+nkowSujAGYyKyGHbFVelMFeyGGx+3T8rvFH/YstJmC4/IdYnfw1TTnYnWUVgHhve2d6J1Cfyx8cUKkk5hotKO1gDDwBqgtx2usuxayX9yJQjWAujaG2eZtCbXb/EugHmFscX4zkyNsYg3U2cKf90s6/jsb9DXjArvpPQUso+ov3VmbSxEIzexwtgm2nbUAQb6absX0WeJ8g4imgnQdTfSBc2z2OCHYwgCMGowGQU1f6ql/ED9tjRxUdLKp5WR+Xzc4iA0S08sfvcuxrOzjk+F2BinRwd3Q/5AO+p6sFDWZCXw7ZNms2Vr1qxnq/8XYwUiLGm3yEHDc0v/0dtXGMY5NrMCSlFI3JS2M+r/8ybXI8y5y8zl7nbo4x4kvkpt2YEW8L1bBt5GIHudxR/Q5VENDGOV9fDkP7Z052S2V1STro9Y1tdO+8uvoavPBx9W2YsrFjPFL+JQQruZYT2RGN4iMKzmBSHdYK9iZx1y6vyYpozDYohSFqdfSq0tN+/uZkH1dfyim9Za/+9TcVNgxQJ7ddNZpmL3lNe1sUlUbPSjmPgRien3dsQOPyC2voyVeYDEQKF/lMe56DgYMbk3N3mwtn/UOFYoiHqCsRZPHD7rNG2VQVr/OtY5dK9MhmKD8QCceC8a3ijgdnx8RywI2OVgE5I7zvvwPOX6EnRuIMo3tzOJzZcq/Y5EHzvYkwoxghKIrGoUEovyqKfuBrvZDfc6hX5xn0yX9x4+qhHFxNCj7cguWhbzSmUrcsluQpHvDvDrioiLXGunHhFpCf/ypGDB/KmL2pRW2ZxtCEp16oc56V3GYMMAuu7xafu5sCysgKncr+saqLQRFzfDEQfNOqO7/r5BW73usQoSThDIGnm6sz2XPl2OIThrk0527dWuZrL73ynaX5eQ2RE6ccxzS+pcIuus9kSRUZftqPEoLKP5OLS6bgCXLN2FJ830qn+bw8Ocdmo7/OiadfrLJZbv+zo/sP3RpncZVxs/S6VIwJ3roqVN8rFX7qOVzX7Ma6z8rzfVjeuhuMeBLKTOm7FrpLXv1qONwN//fY54/Z4Mr+gKco9uHXyUCooDH+VirjRJapgtZn9HMe/rG558LjnkuDj1DFObDXX3jQHO7s/6C60rF4B+aIQlScasVaP7tiDGaBsazxQfdxRVVPgKH0aLV4CdZEI2QgYjn7SllbTzFQ9tri7n4vbpazac/VxWbyqk/KOUqToDKLn5cCoQ9e4wDOw5CoAwBavv6xdpiTDLJ2ukgn9BbjP3GPM/Tp/xrxMEAN312YTERsMxEQ2gU7wtlteJeY3vHNM+FOkXP9MdvLpRhVXWNclUsUcGtzNOFionqod77wxDwfWT3I9u5nQeqvlnNul/LNmiuvbVzCO5pZFZedJ6kSLwktlQ0bdOWjlAmDSi26ru4GAYuig7fgW/4MYBjriIi2ggKXQafq6STk2Zq7QTGIyq67wVaCruFxjO/G+WW6ysPEII4PHLd3y5Mugesg9qe2Ss0L9eVDrHaAj+SFuPRVkkx+pA2mzuqprt6bm/8PU6eZKS7+kbL9pA18R/LRkANA/SWRF6u901+RzD2YsB0wi3zvpgnACdaArGaDz20XonZwPzdrSTh3WdTwLkhCUeNGBO9LMiVupa0TeNQs7nef7PQnUDrd83tOxJhOF83Xo1r901YzfMqeVRBXWHLbuiSKDP126CHkyCY9lFE2weVVXfny01QT0ygVwLF4cBMF120uSmQvoDlOCgSJ00dLmI79shC4ina49acNyhqQegNOPUs2VGr94u7VMbUj/Go40S3U39S6i1NN3kAhZ39piUFI4SFrQKWj4pjVcIIReVKpC+TeRLJ8FPzkGx0awVSgVnYvd+EkI7u9SAaqVWQ6FaBskGBYFzbbdEJNKuwdIM5IZrfodYbGYwH8qstHXa0viDrXm8UgxvC9UDHN7xc3z/FNU3tEY/Ty8tWjrbKh6bUhJHlD5Cz7HV5CN7UgyomUr8M4DJVS1S+Y13s/bItm7OCR48MjSngMsivmOjDqRbqXNks/neslzcHZU8WEMWA+Gf1uSuPa+AGeJ8Y6HLImwoeCnP5d8EhgckwhyFduz4VJacWQqUeMyX5Cx/5F9uD9UIppJvLZapIIxQ5lh67h0t9BCFiu8Zoy6p0dSJijp/AwTXmXzef87C4xLzl8GvBZxRwM/4Qm35S5wU+BI9UUmrXYU9K4E8CSmTYjTHSVQD7bwBqx+7zGv7e+SkRi3R9uZiOCRW8b2yzLI4bkkoHobzmttCso1V+gTrqwvIOonAB+wAa4ok2LZE+W7G5WYjhmvxfdLnz0zwk05OBr2pSI+AdjL9CbSDldfnSHaYAD5SxpSwxYI3WiWNMSqPjuedaRnFSMEi3gTTpVempCZ6VHdZImFcU+BuIZxeCAUqiLMSEz/3Jb8nq0ag8iWWJB1VlvzWk0i9JcPI+U4dIPa+nVIr4hno6Zmqpbem72pLg0AA4R8h+DpPw7AxeeAeAipWsMj2HYQ3HqDems8bA8Wul+R/RbF7AxhL39freT+FAFs6OjtSQAOYV9vFNNTCrhHQwyF1bqO+tKXBlknxyzpbgXvzJBiVsuqk9ppzSiBK26wwH5faDyfEaoRt+tRLxCJtg8i+lGUDgBNCIN9ODtw7HHXrWL8OdtLg3WnFOXG5dVZ4aLTdPrHu0Dsjitco5ZaO+uQwFGBrWVuAiGUcU8kcGLFNGHLEL/qAcsl5Gb4/REjQ5mZzQhYKzIXIjOKQbfNGBqffUD5udEkpEh3cV5I36hqp0LKRo8wrBQRFaAnB1FuTYSnsERNvnxE++mH8CP/FcuaItImCTKHiT1qzxhXWJUxIj3ucIJcd1OqCiYC70Nx3ZWGluYXrOi5UAJKL86SRW1Ia0RuzF5rE0f9n2Z58xSAhI5VDQDbZA7JMmW+1jUGJS/Ct61h+cQDrJbvn3pPaE+lUkLGQu7T0LJIgbQiDaZT68Lnih/zJ8NV++AVEyz8P6cPuKzUIyKcZeJ9OyMnenNkS+3rm6ByBjE9mueXRWNEkJb5k/oNw1gI2eNJghAxcgor9rZkcvZvzCffamBmge1EhIaeR6AgMoYJvMykfAQr9x7JZwmEWE95uZbdcZDum/8rRXpzODqun2dG4orC0Bsgf6yB44Y6Ig8qXaHqaxMbzdDdCg/reSmriiD6VqCj+PdDq7BaNNvdDnVa8aXIJYtvq2Zi9rnFS9PvL3Ua+Oo7bvQeG5GcS3aK1kqZDRJjgVWjQNJBlfB0fIvELziskedX7mDodrJ0G56cYNBmVXeLNj3OfkZf5Kvuvfw74B4zim408QI8rR3eJSvrncFnTdy9mvOm2jiae7e27UPn4PeMCyNp2J6p+LPdPAToajCbZTBd7F1PJ229TFkZ3lZpIzOHrW2jTVc7YlwJbiqzHLw9KqAiF4J7vMqcSSvzZSRUEFbumjV1F8BgX7kwJBJjgB1TijbeX4r3UChnz75r2logz4ZyF+LA6HQtnuuDudEbzcQEs2WRNJetLyiOcPUi/2OuDB7lDvHXlPuBhc1rrHlDttAeFaH6A8k8XyxwogDsTc1PrnBtg+0VP7nlSnJ/3tVCnqwODJRQFUAD1i3es+vhw1dX5Op97b0/r5t5z6yfSUEzKxt3t8nmqpT2z3B0Jxtzn7nqUrwcI/N9yAT7/WVsufftaRjh19xO1CooTSi/LTm42itjyqPbPET99BBZnpeFEGUTcN6afnSYyV/2PG2iq3wHPHgMAMfnWcSkE1pqrLBpfL2ap/PQKc1CK0SOfxF8kWRz6sTIyzOfhPqQb51HICZBgr9ncsJRa/WXh8EX0XtOb8EzatjQs2/fhw3zUbIy5RkoogSl1UJlz9qxLtA08x4lgAD8ulcXy1AdkpAfE0S7YwhZaRUZ8M3LBqDGdm9WS8PgvVqNogUPjRg1qllFUoP3C2SuiaUnVh1dWpPN5uYtqJc3EW9pGPdOf415txC/pttijyVxQ9iXv5K4rNfANWYs8teOxGmjOWQZi2sIzxzTwqITyk4GxhPfHfW0DiVqMxI98kq6I9+oGnLlESnpMC0pwfqQDi520bXtSphomj4ba/zCLBxbEuGnXY2qI9RJETjb1BPSkEJJA+8MzbRtts81CksYhruNPfDpSmKfZhdWPqY9VjWURHM988LGgfSw13417J+Kc1CY35NC99PwzwsJgZV4S6KRy9UBu0/b5ZAvYkcpbODI/BmFCunLbPZUpStG+Y+nBB2vWQAG7rPwxBkNt7M5eejoOKFVTVBGHMZyYKaEexTyYs3NuFPIdvHHxUYEUsgzB/t/14EWVCVSbCW3Rnz03ef0zjqNKXU0xhFLF3xkP/1LqgU7XsS3KIyFWXeMe92AHBJ+daQnowuwd1YW2AFi3YSJUAhNierx9GY8Nmb3KjDpZud+gvDrxyduzUjW5Jz/8RB7ZtyVicGo5vFlMsTTvA5i/1ZN8dATvih/ymMxy8sR/KbJJ7loPX0NyLapKcyRhmSEfCbIpVZjiYnnDNEoiN/G6qRo6UcTb7vfFjmzNYfaKZ3E5EG7RM+88F/rwGKDWvgf9OHnM3D0SicshBwZAe9xvuO4CNriyOdWzhueWJYOXSX19SOeBplfQ1LAoym3uwBnfYMN9EwWZAZM/AluLLKwHWoudeGbQRAA4jNhxRrAcrhRVBQKMOhVfEVC3VmWotFZ2Cx4Ftb26teKuyP9N8Ha1uATBxl0g+zqzBSJf00tGJSWcoFmmjq0uPwrw873/UO8duwzooxKyLKSOKaDCguqQ+VK5eYzouZHfD1JCK2kCiHOPqlF8qn24evGk0M6LH7h4Mt5fY6Ja5MRllgHQRbRqYJ7m0sV3QcAKe6OgkJ9BqtBYgAvdh/LkPTdwuelSmXTl6rECHOa1REjdc2DsQ0u9ve2ZLa4Dpm1pVfKSNHw3Gu6LzSJpuuiPZ8YDIrR4yM6To+l3iJUd2hQ3nWD0nCbbqF7cxjnwbi6ug8tzhY4dy0B021gL4gJ7zupHbAgWr7CzmLa9GoiQeAz4VpTyP9i838nUKLoswwnByPOytnlyqRrjofI+cZ53L20qw9/bWXMV3YTAX22ziCvlZd/jxtkrq7CVnZybX8lcV+QbIEoonW5gBCsUTdI2WiCnSqM1pcB8MwrFefc6OpoccWqgphMBOw1ToZAjI5MnCuIc1HoPWwaO9uzYmuq6bb/EUFiolA5p2i1p3kYqenrCJqUHQclMsXtl64RwwM5xhhBRkI2MI2cz2AUjMIKezoEF/FNXemYJXfwr2zbtI+RdByJe+t+pYaxrr5VxtwaDOi3rMc4ibUuZhRmNh41X+DZjVRh0apjlRaiAzr3onSSkfG5rbq+KQJYKL2zY3Nvt/8+J/R7CKWMVXzhm59o7+885klqYz7Y2p6BRKLDtXRmd3mhitxO01wyaG3hYEiMUGhVv4OrzpAq1q5n0VZWmLVZ+PS6W5ykZd16ip4vQ3CYGfw5q/eZ0Kl8FB81mS6ncszlmQrVsdhcH18FuUEZUKOL4OusvlC06gPpquw4bun3peNjy33dH6zVTK/TFu/VlkMSVyINti+QEg9J99/RmUgNg+kPMplv7EpN3SddE+CYG33WNEy1Cwnx9XeLpv7LkT3yJVhldvYrZ1chkmuLP2ymudZwHbY3Xfq4ZtZ3lvF1omptpXNJjrMFA7YtB7lHOl/5zmg5PF734UUSBOoXmDdbkoyli1HCRymv4XmD+fkkmoTjAeZuzdSW5JJ75jk5HUIddELg18G/cTvkIV1pdxNYgOgG9hmv6L8wTKeDGvCx2SiIdDmuROsbYuTn09LnPxQYs/PdkWoByNdh3Op3Tur+72c/0e/0VA/aIUWrpsVr8oIXqOwx8TJv0n8uEOBq9D6aO4e+wgCxEpgSyPjjEqMuzs74jRIEzqweAk42yhOtpPtydnyjxLIR9J4iOUApJXrZ/ITzbrnt9x8ETZVX7JKWuU9XyBiwcZfb3e4BCqcKjo3EidYyufvKysymQzfET8Izpjbpuk/qs3QNhXXzSVrxBhI/68mx9mi5UftwAbmD0aPzeBpSObMvTN0J2ceqUjuFTTTW0yB0NzEE2tgygP46BDFIkZ0WWi2g1HNfQ5G3O+BQ9n6un1fjtD8DkY88y8ufpwKzmRyORoemiesWKw9i+T7LSht/rqeJTe64/KnDUr7NFhGB4ct12GNsWL+vtWTzJuctKccVj44ZPb7Pgfp9XztkGm+T8EY+ql2f/e+DbodjG4crfyH7eePctIcjHFAFWuSYPQYlMUaMtU0ByHiZm1P3XiXxubOp4n+PJ1Rdd08ld2fJF5hcFwi6kt/VidxOS5m6MFFGfAvmOfB1LoY56nL58766rHQnmIcwmAIC81f8ZirIggtiE2ueT1/U0Uq2gRMJMwV2YrkFwU2SzhxGgMqHRqdkj9bbuR9wPOMfJRtTy2MmG2RbGWB2cuIhyY0aqOMbOMoig8lWI6eyXobza6sYH2RlzmAwseNly+zwoPhHXUGjAFz3R6Prd9pSoAPqBG/gKXNXoUn8+LNPrrS5//lPIAwgUCx9uaydPo0mcyweS903FMqWyrfw7yjkwX49tacZbA6c+FbUc6wKplJJwdxjj1O7P/1BRqO2ptWLD9TN19E0W9VrhXb0lQz6yDSWXgm1n5qpst8LtELN4/vYRWXbU4daePe47yV6YHehqiC+ZYRASGj8ab+T5qQokWE3g48PCFYuhiYbQuWOKQ5Ix3vN4+6xKHrv2pwl03NOoO5V97eAZUOzPCL3YVVptzfmznw/1n2o8Rqr8m+ognV64dcSg8ZjrT2tQ9m6hq/q5ih3haF3g1+hjzf2a0ABqPb1C1PF6WUe4ThMO5biVh+yUgLGZhcTn3yWbidYKqahcqZ+bFD6/FOwKOVuVrNihFHYRNbyIUYcvnVjcxaJ6gFzyQM48TZd8owir9RmG0VyapCd7cetZ5XdsDq8Qx2WW11OoXmBrBPlhKEXu4ZClFnYkRea7U9hjgFfFWaEhcccbhv3uWHBks9zFz9aHRni1WvhWL1p3wGVtzdMRXskjSTlD//Nrnmu23+/Ve4E4HPf7cvSznAvPAOfSw6SMeez7LUHb7SIZA+L8tKVURm9b7ZKS0Eegnfnam/vwbHJE5HrDOFhkqOc5CTV8LJVuQ6SuoXMHs53P6GNulkCwwGL607/ohlrKZm5FH3k4HB4iLgtkO4ec7Ec2Kwt0qyPzDdGd3m5WNpNcGt5qq/67l06JAeRFW1uNITaGVW4VlRMXBxF96xFMtnhzqTMiD21jyYvmefBOMZe60yu1SR+YaWU9g3cE2mwcAWefSzue5NI9GlBLi0zlgFu2GFcifIZVN3AhXW+Qit6l2L0hvBpM41ZblLjjlb3K7IBW+jHQ9BJtbENb5zoFK9957Nb7Ob0uYPKSJE9K1Aw9XkmrO7b3QGarO49I/eiiC4KK0vAi3e2Grej2Mz5jvpNn16xJ7n0M71NePuAkMzjXSosWkrFdnOr8R/4PZBuITlGP+dhy1cwFP70pmKQsF9Lkg57g7w06lOmBywtkW8EGPM843V+EzVKrzcrIsZTQgKiCv3vAqpT0LTAeQdFyV/mnGG0NGHwqNdk1w2I6wW1rPMKr1pox7hkD6UAcroGjgOYvCo/ARVOCAyn1PPF6WVcN7MjJ9zjDIUWfDJqjXNkxhHEzOaxIfgMtHO+PqVGTH4Dowabe/G3dggCk59e7gN80ChfYmWeUf1mtdRLgGN0hLtgBMzymAy0bJcgpyUS92ksFi8mlkVq4C5QQ2r1VBjJ2EYguR0FXvkilhHr/7CDbpZYGtQKldgHfFquPUGhF+P3npuPsiirwtxzrt79zBO215I5zxXx5UX/Zd7gjsgHlLkzbWfBT+hs6+d58BdrKbo0FpcUu1v5R60H6/E7UOdbVCwuH8Pd+MlrOYTHmRI1yn87CiybUaLkJqMYg1PvF9Av5mqaAdMshbMNneosmJqWTKE/od5QksP0I9HLJs8l3xMhhfCqfkO9bWl0Rx0YsTLvawqKsjyPT84HTUnlfY+Z9jaFxqTxHqT80TbuQ3LkY4sCUc1/l4HuJuGHlTvn533EhcqUzE8bMYsqiZJTRGRpNgCn15QVhxAEe79COtFU32Pd3w0OBsm6cosZqCyJaLvONkqzx0BCFhywqNmXH4UAESWAXb9yKh9a9T69824GDvWD+ahhIzJELJTVcybCTTlEZuY+7qY6T9lfjq6/hj7E/3hGAlRHbWjFeLnKEC+et4We9RAcbTsSi+Z/JyYrDVExkBNiIj9MYMWpuUCgNOyxawkGOHwjSaoD7PxVjZAvCaHaUVdrgYUWFkaErYGOeLYc/ghkI1jrBQJNeH2NinU0wdFvW/YRMaBDkng09zh250+d2xAE4pxCoY9bDU9Vg3AyA9w0Vy6BDyd5ouDs+3S9eStCFfAA2C2W65FoytbzG9tUte4yjLqK0OEccSQzv61v+He9iWeZD1TF/ETG/WP0/HRacIxoQdLtFonlOh8kDUFk+LO0r0nDpAAuDmLB2WUYORCLipjoBt7oVPIA8+4xfygSOAfrjAnaATmzWOhP2tKJfZ6Lp15gDHCC9NkOANcK+kNvFz7QfGca5UJyuhYQqgkfXAOivqxMKRW0gjsQDCQisz7xaoiLhVrsQ1sz8Kj/yclVQfabxQnSxvGbPGeLUICUGlNtWO3+Vj8Arj1/b7H9qMp7szZeemn01Br8zxzSKBKNN/R1nzRsWuv/OQd1idq9F56oveOYJnk3diq5TSwJ3EbxRn4ueKA6VPDDbhhISd7niAw50zFzvnkN6bU9zBtincVCV8jC0FfugUpxbUi5jHGGP0jDz7YdPd0yCXYFupE7hgknsFEtopIJi4e4J3NyrcYnSUks87NtuOaNhq2pjg/Gd/tgw9Pn+qj75tQ3aeNxE3fKvkVn7ReTlpj2wXzFz9bNzxtiDj6DdcBjR9ZyjhgjSP2wIftZykiR5FDDiLsISVEoH/HoIzOs2PvAfAm/J8iX6p/CH/yRWxNmHjCCxAkOqTWBrlgxlUaRLUandy2qLX7X6kNCmuzToCawuhzLkolfAYAOJ8B78eItZXgao/CdudfCDvcWJ1u4v/f/ULWxMtwBkiCzxUej5sMmqE13p9O5Ai3/UDx1DpH12NtE+DTR2Q1h7FjHEASB/s4YgCZMSs2EmVY5Kf7be9LPpdmuAUslpFf+k5XT4Rew9BwN6aJ9tOubkbo7l01uSJElmMHQhLM38RtVMSBgbwxedO6CMgNFMdELeqLFA78ypzvsxIftY7rtv+b9X1s/ve6vbFj5+x0pYztacRaQVLt1NgIKEeqamZFgvyJkgoQkwRWXLM8v3/5UgBZ7FMgTr4Nrai334dnfAXxbA5ffusdFAGSVHgzphRM0ChPVMYDLYzKW7Xz12tY85GQIZ/ws9XT4CkoOi3gLHUzERlFRU+CA7Lds124jKdVEe1moGPhdWpgnxjnfxowXPOLwl7kuRwBbePQ26G/fXL52H5x8G8v0cQp7bX+PsDsgTVUY5EALo2uSsTucrWvY+LRy72esNUxoFA4TZ9HlSyWc4LfLPMaQhPjH+W8n8ztn+OWoNe+6J6PPO4dRzhzgQjriiwFhJ5mhyQReBOsAFQ6jxtTtwYe8a5GFivM1Ndo6ylBmjnZIhtFFJHetm4pJ//iDZph7S32sJZdr1LwDK1rCtbJFZUXGk+BjNktIJWH5R3Wvv9AgXxnd6VGu/GjKZEIJkFxlMIhrRcXkbaoDQ0BVfE+RgCkCY6moD/4nTX0pa4V0oh+JGfTXTQfXubTLVNkS/RZOtmpykKjUv3MrKayImFh3mZgYrpRlFwD7RB4KCeH5bhAcO7VEd8d1xS6kzhp9mmGGPQDAMddg2XOOg+a60efx1SiKRyga400R97CjKQzQqUE5Rzz/0Kkx4NzYgApJ29djYDnRaL9SCXmCk5plQA7PjBGRdpl7rG8V+S6p5xqiBdHzrWxoe/qqEzC+67Z9wesqRvjbQu7erWil6d4/6KTVcBiC1e3dQ4eu9ygB90kWQPIBvCsdz3gmRJISMTQ44GN7Hcceav4WWX4GB/+MqU90K62RTgoLQyAnIi75uXxC0wZ4CP/7Ry8aw6u6FNmQ8mlBUG7nfbAbs7fwLw44vR78rSCf2LoD8tsCpQZ130WVDCRXOozRQDycDN5K2rvqqLdGUWAclaagIc9bCQmP9JhpWYaggX93hs/7Z5uCQ6KXxfUOwsKWRPSQqjIiygEEK4hFBLCvW1PQbzY7qIDzgnpUz1t0BsbRICtoaDZPPp5ZEketOhySWnJwicKcY29E+/jUHPi3s2T+DuL6EINZ2epQqwD6oWY9RRmKIXn9lxzrrAxYRTEqgheFoEMVDLfiJn/2eS9eMFDowgd/XOSAot8+MmKZLJdi8ZxzWnSaZyPZP4Ta3QK8k4IZiATlUPd7P06SUKjcDufgqaD4KDB7q0Bggew7EKG1wddyta3KHkiWf7aXGvbz0rdJjO6QLlGL5aDq/QOJ+rQH1bggckjPx4awCi7/e9e3tsjPyZsW70rqgvC35amxFxJTv6TQ0Bm45FcMSxukXWmI69runmWoZ1XA8fUxWkHcgCIbehW4XDbYkZaWf635lIt5dQXTy0sjnFbumEV9Qd1BTqUcXByKADs0OnTbb4UQoXOAAM+WUAaVRPaOoLNCJ54ngIGA0a+MzxHKY4eezHPjae7DC5gAmIwd32m4ACAhbbWnIbnSGbzYJ8Jk+YnR3whKmiG0wC6Eh1/vV9G0b+md4syiF/5lh5rIQQmy+efP+TJugCQrmhAOITJSRrj3ORk6fMLuwetjGR5HuCLmkZjTA9jhhL7wBTN0GaY6ra/KmDKN+2ZRDXa4pvM6hTNcuzb83+TSg91b1lPQ/FiTj17XuDhSFOfeU4KdDYJujUABCCDC+h84UcewSa7TZwaG18kBFzPmOR+eS0nKAaoIuMzc0YgIDe3TR9l508BljI5EFqYGSJdwxewuh1PxLMwmJYiwBTscWKg2qqEKWBCBzxtRYrQylEra+tJGj3wz8lyC3iTJ5LnBFRc5Yb7fCD7WpuO1e6lf8/TyrI3JfapMjZ67n8QODH5CTZm+21fadRdgTfzgHDHKmTtXUPDbfydpQWQaKmIL2hyUokMu2TBA/DQWzt0f2nwXkH80jOkEnGPvgiayEr3YYmualaQgc8XdWbaMTIAxoO1NFHG3X/k6h2lCja1ws8u+lHepFQEyKIP6HSY5jW7IxdTkknzy0Q48d9LqUE0CTZdBvJi2EiaFyf61RPLqbyF65dCWPxJ/wtIY3VIIy9nooWmEAv09Bkpv5Y3jp6Mkt++fwAma746o7wJugacQxtFZh33Jn7kvS9W0i/xj/vy407kfyB2efLOgQAlxS6Jr/qZ+5Piwyj/fUHG76W0umjK+ax2PjpgOcN7ODJzq1lutjasxXGtCuWcf6ixc4+xj9lJrnh/IHnP7nMruhvH/x1qmVtF4ZQflPZbByhYMbweR4vKDg6c0BQSiFU9BnVjspoNox8bRB1FsZwbFWHCujv7Vx1bZCcxP4JZnmcF7U+BIUSAvEqsC+up+ryKWQwXjuRo1AhpPqYAV4muYBOCb0T+4GQgNEho6GPzyku4UssXl/on3gFytg21TcI/QUk1MB12B+5DLZUJx7+nEPI7O2zWHm+ybL/WfnX0CvL4fBjbt/rWtKtzu+dJ4kZSkG3142jP44GHyxjRhpsbFCcpUYkr0TllCxjX1OWtCq4IF2fazjspPpmFR9zGnQMuyNW5feR7SGbTZ8cv0Q5ovhHlE8K5bBhzWWWhFOgZscRw3H8XkS6LdvlnijrRKiCyqRCBYTWiExfIE+9daKM+Uv1sLonVwr5FHE0kDOhd7rF+HvezTgnTzJjXp8N9681+8mcz8CXaMFU5uV4WiJ+yI/9joVCr2kx5fz2RFz+wThoJDHZ60eJbM9/aIuYCbyf7GzC5zru6+nsSOOdR2NzuZcAk6214sZbzrRFU8t6EdC+Ywb3SuB7IrelIjqdejY7owQI7AQ696K4DnwDaNyCWp8LAvgaAXxIgWLlzwixSorpy3QLzdf+/nmOMk5QRJw5LPwEz+kIcyEAg+UjqhKsIiceZz68GtrahDnYak1VJLVBGjgxdJqTkkm7Bbuf8OslFBVPLLz+pKaM5H5/ckFR0PyI52yG47YaUvUVT77u54rWYqIhQ4tCdEMqm9nPpFgox9H4NH0uuSZlRaq8Snca/g5PB9fNlsyoOL936SjhbQmbASOzT2kmlycJrLGMfy2hqHd/n6ErkyN+uM/JDjELOxVwbCAznqqwmAaCTLUNG9BWVZqaJGjYhB2nHV/id+duZKkr+4qdZA37Mc/81ZmoW0qhIbpbnp0qlRQuDr0TofhA/yjdLFeNDpcmOOb6PC38AlxQ+oLCequrbUvdvy+wVKruiv1cnzdK1vmFra35MgL/H5GsfIaUb+4nw5jj+IPsOZPO/4qU0xsdJhcvUUvWXCcuWtVA7y/W6v0F+GnLFvXrz8/WoTWZXr+nBpAyad7rsinbcTHNNC8HyRMuepzPWn+GaO1KIQCT6pDaW8jz+xYLlk2kkd1lwX/eP2sFCape209wOtktqbV3VJQL3+XVOT8D49a7Pstc5UvmglpyFidqh9n3FJbM+wuWZiGzUezEEdS2IBtky8xoEAwH+zjhsPOMYpBL48LzfbIery7LHZebJaSCSS1Cnan+OSnGESmVmw4jkkELTJSl/+U/5YA8FzblFhAtPn6x2OD+ZF/AeFfI6ydf7FxQ9P7idg87OK6nBYmE+0NxoqDPlXtUMtxNKXyWVrgf29/TDNSRjlSC7MQ0TFAg66uYJWPrHtXkS7fm+11klx+oBzg23p4cApImCNTusedBKkuFt+5Z1NP2X2v479awyRX4N/z6WK6AqZZAojhpmFSckAyj+KYWhBsm4tjnu0o2XjZAJjXHwI1EHVn1QF4K2JEV9XCsaqhPiNvEOOdz2lOpKpERn+vw81bYwfERgrYbCu1b6RZmll9GohRDpJq/6SwFsReEO36GqyPerN0vBTGKicKU+0AfGfr4JqtTG3uHhwveWhWuFft4xNZyhVnGffxfY+MDf0cFOW1MK6d4PfYK7cAeFn9IZrvUORFVeNt8AZ+VAjhjcI8WB4JZQ0Pmld6PebCB+GzvomLLoG6DHj691pYTDXmlKNZQ7EOqroi3IGfjOUSIvKA0dW7ZkchJ0uYBBZd2VOkFFHZmfhi/76i+KQlH4fTKzNK/yvNBNkAxcqWz348yIOaioPdqbbz2pzrd3NzACkEwZK4JLXUIsjrP9sAg4u6OT75yMMH70V7b01pZzu5QjxfSckUYqbySh+58ORiYvUKz8YsnVggxh9kcuCH3umbuV2/FCo3dzfDdbjlYUFlN/En16aXg1nfGvM8IXXk+/cn6ZZn5dJvQiJ4KttgSetP7zOCUXOMWWMdzIf7NT5rUk01ubKslt3nJ3m4BY0pQHOvyrrzg8zUnpo1EDb3xng8QC8yS/kNyFGAaqFweGFfJbpXnZ3kM7Ec8nu5+FPh6LM0r00Aln3bZlxBisiTldUPXMJssSi5mU/l5Eux+uJGYrIl0T7ib6TM1OAQGpK3em7ZxeaAuwAABSG8ToHM1nJLVvYC1TCFJ0Wd15+xIRJY7OoouIGZ7VvlPyTY4lxlbloDpGLV2zla3yV6c309xBvk13uVeBlndaI0Opj+2OUfoF1Z4ZapFsLWbT1AzZHG5JVtQSqietJEok+GmlH6bju89Ap3NzOxl3Pq8hpIEYRH2NCs8VVVvHI9fqHkoL5YiQ9eOEALN4qxgvMe6XzdHpEweEiVMvmee8ZIP6sHqhjnLC3ibJ6khUjddTL0FmyDn4dmJ2dviX9U9WILAV7ixSslztOlr7MGqYcsIoF0o6CR4HBlEK/Z3/edw6YVQjr/Z/dT6H5jK7Hud1LXPBGe3UgQ0T9+4mAOYPTB76MREyuRmIxY2foO9cM5Rgkt8sHf/89qTZYgvNCVFQuJIhwKDCkJ1LbAWDX5Ijal88I3S9vvo+4Uomr420ULJfqyX+lOeT7az9GGPH1/qjgjd5h/popD2iQ4vMZ99/frd9bk/kxJ3WuBFFVHdHNeqYWvBIz5/yNk14Q3JC2VJBIi/HzWlPl6Y6OGC+AcBxmZQHOsjUsuQJZ6+2M8e0+Fav04lESjWfSwnyiWqJIh6kIKmLy5Np5U28WIyr5lymGuTG3a8eiC7IEKD2vBd2lFFgo+37d0o+91LoGApJCAxJnLZOOCnjLiesN8+VcUeF8SEwxBiFCrpGqUlMcixcNDtb0KLbgXpbsRgzHvPTONS5wEuX03dzfIJ95+1NXr72rWg9slzTfOoppDdqYy3H0jurAP2pqoFVWV3oWEEz+Upam5K4oDOoqOizY1LW9ok6Fqf9CIaZytkLVcVBFujNzG+Hd8pQujnDIt9EPyumPlq4WCaxjGKRU5E0hMNgZpyU8AP1+GE9rsoxEE5SJQi5DNsj0ibC9yQ9PoP12ZlUxwD/x/ENvuwMEWvCodI3q2yh9Nrk327mzsPleRRwR4S/s2Gx+CjIpXU96os6fOripJ0Q/qKw7ks4pvymuHg8QIbEpmwBZ4NjXpLFWK4g8Et741E1/Yx4ddzutoAhNKWTJKMn5NF719MlH9rt8KibMMxGnMV1S+iFtQsoa+j7HKJdHw6bxW+kKGmd6+tztRpinH7iFwc4fstDecgn9iI2SuFRrop7M1UV7/dS3tq1WhZibHqM0YrtggugtUEYK68b2XZB/L+yVQuUo2kYf+VYqaXG/+AXC5uaSLfryyKHps2p5fAa4zgHvgozVZ0mA8X/sjzjkVSdv/XIm1xbK25tT4JsImPRMvUP8O6F6zP7x3rVpvXo/arvewc+tUFz+U8c1NDRjJLrUG1vJ49YySOkSdgYEj8aXNtmnfm3Y5dWXwAnuxFayoZLjnaGMLP13nvQ2WfzIQq7eaofgB0N73/Na8tGOHj9aQZxHGYDVLeHbsFfXrKXnsgNwFxFrhzDQxDv8Dcq3vTUIts/+BnAYkq0ZT+c72L9/GC2Eg+LgNgplWryeGzP/4eqwXiYyYIu6sIqpMpX8NSahgu9VliP9P7ccEiOfW07aDybkL22RvAS3LxK4jIF6Xed2Sd2kJm8EfAJFmpomywpze7d+f738OwkqiSUZxACM2JQRCTalzloSjApoKL8flOpCjew7iKnmfhLStJRH8Reqd0kEfKn2O6Q4ssIhOWgesO5C0zR9q/ZfCosuuuBmUnBWk9KHhFnl+S5nVq4HaN05C2ErFYq5zumDwaWSedyI2Xv7i6XceJvIB/i48LGscG9jr+3NZ/MjqarVn5kxOCe+gD6GphITHtQG6WmUqjFyEhuoOkkiKD1jZSfdXfVKJV6Eaw+Iu3Y1BjV7de9dh3XCihQiHiiqABk07PHienpNOmMMiX4cBe1+gCwBgPIEZDSZHcFg43zpJMNq8fBQT2PVbynkcA2ybNx+HRYB8Y01cfoKOJkJwQ/56W8G57VkZJf8f0FTjqyNkcqi5Y6Wkja/LbMyuBF73AqpDp2lC2ODXDAbztntSvXYgB/S18OSefY+7v7k1LzgdyAP//5Amz2Xyr3yAZS9NTx44TEcQKj/PkM6kUo6fqWZlpn5lcx3wpDNytqnlV5eOJS/Va32bKITr7ev8hHVFGWQo4p2PlNDlE1K/XNIzmpEfhZP04Fs31Iu7zhq1SgDzR30xDY1YSMrO0SB2brgdbK2GrBscX/Tu1CQ2dQcO2sqVAvRHca+ElWfaJxktlzAj1z2w1vQPP03WW782EX35GjnvtzIV4x+SXcV7Fmk6e1CK6Qwr8Xb8ADtv+yyIfMK6Y1mzxRAwvqTHOPNmnZ8RiSCt2G+eQbvF4AkQo2z0Vvjo4oKikojyzh+D8k73X6hQpDRDM7EQtnt7FILN1xMUZgU2P5keyCjTTEp3OSUlW7JuZZBbt51ubUsYcGVMSAGn84I1t4VIMIgqyNt2qsRCbt1k08/viTO9X7/ZclJCYUIsa+IdURrQZufvYrd5opOBJJjkTYhqbG1oZIIvYlUuHwd/ivNkNYdJyhyLkDuf4So2W58FR+W+KNtAp7NBToRVl1IylfSnksWuzcyWXxYOtoqAc/O5KiXTjM1o9vi5WLCoO1ge+44+tfYjHTqKxAdECF6bKxlfJKe00cZs0jSioO7TKo1TaZV7Ycjd99JBsBzn7UPMvj+wfNCmF2lL+/4YDluMCHmV1RLgdR1UC1r5IdhdE9uNzIoRV5jkia6R7DtQb8ATdcvfbeLudPFfdYZoB0V/wWSeaOJN6CN2v1+pfPeUsyd5xxGgFqR/XPzQ6gGlUAAoUqCnTa7ut9tqY+w87I+9AF7NiPkFLCOaVvWanKJB5P0Otgv0xG+/PzC+OWqV/N0uTkXIx+LlV8AaPwEAndncQf20rQemttZcZdx24tci6AZOMHcJCxhsrwFvoE/9nmzaSQkMroLtkCKXawi8CiOp+dQGUVy5EjTtNCwp9C1wp/U5o6jFyd0+DKQ1RpMZ34BcLJ2YEQF5CoNIpHHBxtk8fCCtGhZYTKKb4WvkyE/QxWP9gY+cfYu7FKNmFs/4Jl3A/YMXrdmXcSwM1YqccpSlT54oPtGI9pUNXfo4lqJG1+ZqPqMi+QXNsdpzzLt04Fr0GPTcUMFzDhrYWskOvdQzjYqWQl+bgC1CT/0zxzXx/RtDu3qEwrXe75NtM7jYX/yb9jtwtD+erbkt6JcUi+s39pFgMkgqFj2kbgnLRAZ/urbReDpla3qzmeWEi7cDcXPEhpC5DzrqRPn/PNvY+U/GXxkuzYC9lCid71qlk9s2YIu+vxKjJiAqllhLe2gZldhmRHzt5DFfPfzdTWEBBbjaOtsrfsqeAEavyb0hsJ7sAnedUpMDqbrB6ja6DxgjhOEAIIiKgPvO5hYq8XzQTnwWYCb6qy1SSz61/AG80mNx8u8pMFwThnkDUyuRQ1TL4Wq8lkRKc+1aD4Lyt8JkWSLnh0li+VpyEo6EpnjZeCKNMJuKjFUjphcc1cxNLGpxr2lvr2GJdbOhzkmCy6uhtfW3v8pTQAbxdfh1xxSLq3LPHqb1jMYnLkRXFt1C8XhMdzaPNfOHm2Cyc3vPFC+M7Mk3lNxukzsHJM+sf5oWomlr3XAM8nGphLbq3DKYkRtS3paYkHcBxf1kxK8Hvx8H46TIA45L6s2yHEzQ+0OS0v6oojXNRP3rDef85MiGOI5tIvXO/MtNYXTUmsRpxi0LsTwaw3w3C/V/8xuf/+j2E9ubFLZfgQxY8EOAqyqyRyKCwlbHPCeTHA1xs1Qgk1iUvxPawbqWzoeaoLdtTXC48ZKgH5WvkfLOegQG2GTFkjWht+8z2foicpAgTyPWyIlYXXjhlnQJHTSvpLrCsRgr7Hcr99hGCEVPx6GaBwgjnY5GWaF/LcoE0fY9DxglSoJfSs7aP5ad7fndTlVf6IdVR16K8sHe/39wcAvtX3ULK87CZu1+IvkU4vTs+hN5OYUZk3ssWHdb7cLkx3nFK60doPpwfpmbYsGiB/VUWw9JonL0oo0OKqxmsIyP/2GqS8B2Or0lgLYVK0eUnI4qreNYKz8SmJ8/Ob4XYkNVcS9lULlTObE7L5zEINVVT0ztOCa4qJjfwiE3djlK/QJ8eUAnpgSoXxuCltJOs0GPD4NrflEsCeg5QNKPm+aSsRuUacLXpv76C3ZeoQnsvuf9x5K3o5Hid1/5Pi9y1AuJWclbU8mXu0DP4hSTALvMv4ZRvgcJMyFHXh8bwoMyFqF9pgxEinOGC8UoxkcbCF0yCR/7+wZ3SpK7luIq7r2ySU4/Je4tghkmSobY3aZX6pjUMBqR5sgJGNzYt84tD4yhV2nZxmlGpg4aL4abDTFe5RrxvpG4xslT1JDWlnmpWSBHDp4bMRCv/nn5BcxDPy9TJxbBKH7QO1Vjy4YrOuPudpET4WVgQg48uCeZucTMFUR7z07qRkGfP6mizO8ekfi1crRVfrWPtrbV69vMT0gCLdvUP31gNXoZcRr7SSlfsveKg5VzZr4/SxWsNhP+uhg2jPmQLExwGL89o/VhS1yXOJ0v7EP5V5Q0e5kmIJyLsGmHet0IIa0uPPm7maic4S/ltLUNqokJZHBwqeCaD+9alUNxEbwqrIxP5163FWd7JIOzlqLtsX2jlFizhfUy7V9R+N+BgKnIib+cU7YH3nHO5Teyrl8FA71c9dgnO8x4U82EWI31diMmqiT7OqUIBtm571nprhFJRqE99ZYQUq7i+OHP/lMVqBJy9crWRDpj3mGCL8HXWbd9SM+8uGYtBx3ww/BnXZWdiNmIiUfjFrjeeuyM8eVx2Qd2IbfpybdJ9FliEqYpqb5gR2Zk8aKnvTnRF+Nst/FK3Xju1Ds9Teb5gdTKEl7mjFbjV8SXae+lYcsII66meBFF73efQdtAvEQXoN6XdNGlzWGD2AXlalK6/cJDDres9A4SMamooDkGSj83h77mG/W4g7OvOKhSRSQHptVojs9we3omc67HwvO4sV7SUWvg+7xJnA9IIhJbwdaP+2zAbVcsbKSKxozFneTE6fIiXYV42/fRAd+2CLZDmm97Aui4K4oI+tENmgWDRIx/Z/Ee88VFM1drMr8s+39GWAzc5/wjHdxNqT2iSko7/TOCClHdIvzNggUQy/oNAyi4HS4TyWChY/ONdCdrheivrVhxhvqPzMsiyGCRmYRWF4CBDlYmuWyBEroe7sK5yyvWz0hjAl+chJJAdU1kJW1ZI2hB/yjIploPuCdh5C5Tj4VJ6ZPT6WPkUfNJlvAK6Xbvp3z0vX0de1VrJ85xfrnnZpJpPJHxNWLWip64z5+MAE3sbFwhlweT47ojZv4QiInBX/6HqhHsZy2Es5giz3xLClNtlQCaZtXGeeFdXFn9XnoEYyhP0dZ/ck0skkCV/vgomgkzgRMNBrFzh8cVoTt3fGFA+pRy+0cCaNEAz6lPt9fRcLakgVTHp5vL++NhRiVJUUBIGoxNNgfDQk61YmmxpC+qEfAboxcVCUdYUkdbnVGDo+1lVN/+GfTg3Mcw62q98HQuNW5GU3kUNTjowVFzvVeAzQ9MFuv/C0Zj/IltjyJTSRMd4DOCmgkzp8NruZLu8TOzcJmBrdgGr3cILUY2g+GPcK7a0lcD/+gG+bvvcE3LkTpQjTQR0dKsIEYMxHiOjoDgWu5hqBdKTMj26OmKx7kAighAPjJB2mbOU4aw+GtfljvSvXtBQOvgFsPhWpe2WiN1Xi8ursum/kUdiL9Se4KrQ++DTfh/VazQNWauB259rVtNNKYu46W78Vkg6NBwZCaQrWYLWQCkjdqmfZLz11FGT4U0nrBrH6Lb5PhvpU7dkWRP7d6mCp8AZ4UetMeP+VU8pYdgNzd3ixFOovw7t7hURDPooWuvTyo02tiTU+3KlLMm+rW1+x0OxVjd5lMYnjhKK1s9nfhG5gQPpnidBDm1iGSRrLTeS85sqr8Tfx4pkSwDRj+MNFrnN5nGzAWaa6y9XDb45l/4pNbh8y/8D8UkZKVQEdjc3qvZKAcBJumjZoLI+b7ygydOsbOD9KH14XWRXyO3cT8hIzqMZjmYppJTzrUuOyxPdGlGMnlyqTQboMFeoRTpzdRgP+9ThUGaBexAr3dozR849fwIFpVBA3OLVejF+PR6vvr/MBbhh4pClifxuz++evcQeLl0VaBGMgIGJigqN6bOp4UY6KKsTnHqFVhWrGCUD2wV1aGFqJHko6evKQHSsZAMOkGUZo0LQ0+qMyC5QFwxHFruK4hIT/PyCL2MxsNKDBN6KeGuLPeKMP0+xdYSElxlEPyE5UjT43sCrEOzGtuOd/OzykbQkvHirYT/gHpvSW5ICOPCA0QMNgwprAX5BOZDjbhav39zZPL8GtGGrtJ6HA5FxfyZGntQb2wcjD4/iYunIvA//0TaPkl5SeJv1X5PWTnJprdLCnog/WHLRdyo/xzDVUIsD7amG5i4PsEUxxSy1GC4hV/NdtEsBozRmF2GoHR/eiPCyxcILinTL+VRgTOkmt/KhY+pYhKOJ5iEEQHRJvHiN1zgDIj/TfEvve63UU1FmYKHOTRyXWAagfqSAs5If0CoNxf7pmZhUDOMFNcFpWxVAGzRmBPKDZkZhQK3kt4KalNN1TYe3CbqPcp4tols7iZmzhgFWkSFp0Ba+LBpn6F0bLMXpOJab4Qk49kxzuk02XdvuHzLiP2sMzOz6sSqCsauovBBNB/Abv++gZOfMUa+CFocL1eshWN0iSlz/2KFX9S1wgtyLNm8MbMiPsLn+JrDu10lcDYLHZumdwWwtOQA30f6gDvM/ZKQ59JOwhorRTwkudg/ybDzMt5V0eDblyHTZCvwPT3X2yXoHmV47NfMy4qSvflE2sRzuOmF5dUjKsIfi2i9plMds7AsB56vjel1XZgsLmgO+uRp2xOyTyB8bZgq+bEEKagf5+0uCPzULR8XMwO0cXP2+Ba2rganNF+/4XghvRrclHS8zkWtB1bUBRJp8rJ3oetiMHm2IIZv7WBqQnE9tzCHzhWJJRwsA1ILHRveHDLpNqWElk53FNC+DIHKCpuXYu6dBnrNhAg9RbolqGd1UmPdEwNam23vmD6x2RW6FdjnUT42hrwa5ZW85poilqWLdH3W7SnFnDOSOOhnxNy8/nWlEI7EoK3kfwmot/ZCdUlkQu9bE87RWN/9DdAjuyQL5a6Cf5SGUar3ZMNgBEgjxHBCpx/PULVVLtYGSa0TriiFcnzOHiqkmjGnoV0ES7KWwfxNs5Uo1ALjgLpRBRu/raqs4upqCiNDhZ8gGcfHUK1leWF846YnXmzJI+bRs0/skrCgghxWnygyrABPpJXDM+zCBy3DpMty79OzrmOt5ag+9ADncOSqL38Ch51VpqZaSsWkQcztJlYnRx6g95K7hQ9bfZApsDJVtkrlhEIrn5U9iZ+wlBI376u/wFPRPOQ3KvoIL84DG/wqs7ksJArJ80Ew5EiMaxWCsXd/Uy9sM3K1rwJQsU+ev/QWukHoqQYROSLON5fjRmJUfgMJ/sW15XEvFlxsyUpJFz7AkCMOXgrGHrBiE74kw5flVyybDlcaDN7jC1qTajzjn6IemToctg28FYD7nUD6uiN3CeU2rkGdlrNtbVn8m1AS/owNgh5lx6dy8MfAtE+HoP6nRklHnIFLOHn3E3+zbofB+1JSR/yG+v2qMSiSXh1kqPQd0ZXgks21W1RVxKfF6NPy4cjuJCZ6w0rdlLzs4oojZUs/mvWD/T4mahIDsj3wppjYHsr3xArqbuxphlICoz42X26dNFbJeBoZKpEz3g/iywWbetZAmfzHmcRH91uZPST0OYgmltFbxgncMBRsWbxO/zIkMRwLne22hR16pECmOA1Ri5TGT5Dni6lnb7Q76jAOYOJ4XdG4eNatznMQbx2J9/doajFZtCeB5ROIaYT6tgNvkd302RCNyHqKcvavR3VY+ZBwzzJiu6o6J/hok7LYeg2SmGowFWGMrc1aFSVsjZ6/kTbJiqdw5Nei5eVilZySLZXfN+jijAa2JrNPpMITiOJTwkBbO9Ks0jgdTPv5a7s4JnW6NMBGmi+BqNzAGYybLhsuLxUf683bMCDqu9trsonl5H0PiOnbSJcv3Mig6X17G7Nltbdd00MU7axcDC252pycrpRMJyJ1IIHP+hoVm8V8W4LIvggPQga+F+cL/zPZ6fiun2V2WiOBSF4VG0VojVveisvsFSoY7sURPy+5hpa3BcQNxYd0MvibgdAIl59786+rO+/rFie79fiWeaAQTgCnqhuOh/4HMUKn4v0F8Rfe9gpY0vo1jebkmDoQQEBam86wU1BHIyoql+ICA8FveRfw5ddSOCWdfMq6z14p2SFtv8N00bLpj7Zdzou7Uu3ezS6V+wJ2ahgV4l10gApg62cZzlfpzuHhturpkl37GgedMGG5fk3HHGuk8gcrKgWzlv8BUB4Z2FsGVYr55zK88UZgsz12QjAgQPL7IG3mUgNyVl77MQqf71uxTvy+38XeC8bcCiwC5Hrnnsr8fOyftKdvgeAwnBtirbNH3PivD+SdSzqwfe/2vMG/aKCf5IiIN9SRSJsBeGoAK/8NKff0k+5/Md6TtyrOXai9MSjLwzvkgiJXnuSnWCDZ7U/BT86BnW977/VQpyerOg2FYD+czHCRtkYQIxWq2dsuokjDEgrz3mmMjq0OiyQdDnN8Nl7LPKlU19fMTkhRtn0JcbdvDymBc3F/okv28x/iSCKpAD+YZ5oC/0Iim40kMAfzy90A9dHRtxqfSd0n4kXnKGrztVtRDHqKk/ZPd2gnRWFUpxkj9SbHj67FU00r02CtqJQRkolgLIDNwnF0a/fWlvjOT6Y/Mtqk7doytOnEN6iJknlZFwYOtkYDS5UM3z2Sg3la6gavRYQiUQVivyTK2jfWDUurPK6fAX7Q2IvUVXPQj+kNPtP8ld4yXo0y21RMQWwt5waE71Oju1Lpw3j/5YNXGLifqYvjYe0zHCrPG2PECIDZIVUbnO5lW4725PQK6LgJrx5uX+Motkqw9NdBfchRNWReIsZtTCjtA5Ih76aceUdVQ9SeDwgDuwGBSQm93+Rcn0j2XmzwbOd1NTIaHR/2UdBXMXs7nD6Ycxhrj5WXJDNOzVRnSNkmF+UfT5wvFZVUSDUY6ybs61JaSkvIKdG7wnb5741FIqqKlLfKo8EsLZL4L4WvRV+NPXtCsF6Pb7jVTj1qI+6RAw/c5bgJwoeMWahqvYo+8O8S8BTcI9OmoFoVzL1gjiFbpqbs/B0Lu/fyBfP3czZZGAB3UJmwdaDrFFEHLd+XPNUdXwa1fN4BzVwRRG1uY6yBzATcswszLtnhHOMh5AKg0xIIH/HWQzxrgy0G/E6G1+E8O+N1NwYyAAa3kPCrPdIgnCrvGeE2OSFcPI0noD9+SrpOfpQ864EXOklEpytLe+sNzUBstLRlYYkTnTQMMf8eeLl6YEkLhiNleMxzSy2ZHXqDRxygnEu27MKAEkUFxCnO6Rk4ItA92NuXD5bAuN3/uka22gLlx1izSH7RYikQ+/OEfQdON0dl75iUc/1vElIda4Lo6KWRN4Jo9gcHgds4602e/EtN5ZH0fHy9Qnhc/rTsAlmPe8F/LN0qsu5EVtkbBN9HCyZU8XmFue6amJpx7TimK1zr2K2CVw3aHK7ArQPpHY6ngnuriX03205Ki9/GeDcdIg78Q8r4480pSX+mmJc+AFXO+7MqvuTwRMt4uy2ZuSSNfcscwnrZIvYD33pcfFYjE4DH6FAqKPJAw1dR1WgxQ1ziCXPhabjSHmB5zTMr1dZWU0gvQQDcmX03MzB1lassT22QaBpF2eT8=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2Cco1R//8tgM6IewbKFfrrh4JX47o5ZKmTZ7cEAHHoLHZdrbvNeCdWPKQxgVb5G7GfrQtbILodBpNUVoE0el/I3Z/fJFDVEBe+jophWHvElw8QE9lZcg4pWtnX1ir3NsLyfPl0Z88+Il94HcrWsWYsoAUa+6QK+p7Z8B8e6+8yZuBbmKN8qpoXbecvrhaqBjBq07axyAiUexvSFjhunXqnHWhbcj3F1TTXhvIvbqZqltuUkBL/BoA07nv3V9ZhPfx0NGs1xnEuGe2LmyOOmBGhjrOK6kXQp3i+USXFXiHYMuTWlSQ19RO9LIz50ZJFO5jqSVWBe4FdulviYTmad8XBEWDW4e+uUGmYcmixmtihm6Jqn3dqQVfMr2hOc0o9EkbjrElboNbz6EnpeFNh/0yDPA6GwGMAZq5OHU9h/oF245yutGRKVgDfkRPEIdSL3XKGPDhRbO0bMgI8aKafNqr+8jzHz5EEH/B6mwLbnP8Vrk3L8FZiSpnCvTXd0Y/FGdmKbBmnDkKOVm8Fuh3QsAct5h1xkEIykeChPyfWkY30tXqUPiNzo+SWRJAtALqiVVGE9LlzZirPH6dPpKkslpTJ0KTFGq4TkDLRuFhF76lZZAdVG+9su5NNX+W9lf3msshyRFrEtjkSfa2morMA5ZgPoEpzysXgZ+9/f01ymXUmWeNhBvwqltPLzpnUN/8aPD5PT+iSS+Fh/wQVHE6jjiuKzJS9j/p/AZIlDQUEH06YvH3yV5F2ruawyiCRoThSMPWYrDU1kVJvYUNvUwMpIwSFbAsRYqbtsKXH+adoY3RyJd04YxjquLbD2CQ2TaU4gQ0uRJH4MGXljuANkjV+8O/acd6yzjCMsMy2tgFHBK5Ffrz7G9daDOgQF1E8sQvMt51xf1m+/nParXK1vpYp3Zqadl/gW8zyqARxoOE8XRxyNXAJ8UAY8j3EB7PdYC9nEO9MMTiC/pXe6i8XHQI5/4mQwtq/zMZYYmnW/HM2RQT74fHFc90iZfPw0ssRS8ZFWuWgTROf1/oXpjJbYdc10RDMxaWmCHJCIm5gUeIpBA20+b8T9ofqUyMSoX17AB8z/M+yMtHkDw+cQ2F8vnQ7SmIzSDzsVPc8VK/AMjYVcT8JOt844pLoXkkMzVu03KEC5hp5QbzPi77BMLagFqNeRGJ/pfjIawXFGY3iTMThIQRsCL9FAXij3mnsP7MApSYAIK1eQdNdL6VDJZ4TIuRs9Sohbkw+TbArjdRUUz5tNOUIIyUIi7soQsvbrEnVW7Hs17voUDtVpPiriIY1G3tzs02j5FvATkfbqDeyFTUnV4bJ1Np3tFDIHMX0qlkzcppxUrOV6M0mRrRs5nSaEL9w0jlGzylRnaW69IjjpaesQ/nAFcqVhf3qcdpN3qNZP5Fi13Ru9Q/7XTdfoGgiDD2BnppSEvO2NeoSnb24zHicUQCdcRUcpMF+Uz5B4lB5ygIyx4fu7VSSRmEgJimmE3GCVc0NlR/nfFA52N5ZhGmDvDYEREu4okzADwwgn9bkZMRjJgJoHIgxBU+ANC6tMsN4dwaAHY9112NNEDmp7YROgYzKup9TBzXumboo29qTO0w35cGzJcVzugc4sStNea0CqStr4ht+D25U2DcAZuIl91YxegWOQLarjT8UKTlsqn6U383shoLHXgwmcUuI8qG8fei+D4E8vS8pQiykOPiOX8XI1aFdGm8Fy+at6MbO4g81AwwJ0qpCXQOaV1EMrxct9zCeCfcJUZhCoWj0IpcXKWtRxNl3mGBkapTrhCOL/M3P6buAvml7jmM6+q6yxbs6OdKT0q4mkrj3pavZBa8wJ19690WfAlyq2DaGR+cnE4fq3J9z6CxlalbG0i2xMjhaVK6zwbqNGyfzz9ilHvNNQG9c2mtbHj2OZQUII16EFtLLEUyzHrio738LPBVrYUri4MMeedShrhFP57VCiQO3PzACxw1lVvFOyy59iiTzFGwYVHRuWqCcl/PjqATI5GY6rXLKtEnsNsQ5PAbTfALJ3MYmNk1pZtonjfdJL4BxhdUnKRpHRW/mwf9nsYzleufoqZRyp+awT0hTwgecuOgXocK5JYWXDiOjQtBAPHrYJQl/9YQ9M4rdWMdYiTYC6usv1uSF/qZxnCmcqUTjOfoplyvqIiwP8rW2DsQ3VvWtbbsRjssPdMLXuf6G+014qT0jvBOQ+zynzvc2fTf2jtvRH1R8kkIyhmQs5Mejr4tHF9cAuLbsP+jIWRXzE+XrbgkyVnVW4muI+rgiayw9rhIQarAyG4Xe0AXwctBaDrf/FQH+W8IK6bxIJKGtR0JstkefpPyI9nikLug3D554svfNHi6EFxDmo89OCdCrUC3sMPUcXMclpzvshwSbjxQdmarw1JEJVz8LaIfB6Mvp0IkoXpYf62EiIKqJUHh6opPCv2g1dwCLudEIdFTY/iSzwTQePsJhasXdKmr4FAUzEWBsXc6Urt3C0of9NoRMoHd0r6P3gpya3OATQ4GXR6gUnes1K5+OEg6Q9R59u4zhj1KXzp1bT/t6DQfuk7YrARN5wtD7viV3KP5u7ODkkWnoaG956yWYI7hWyzcH1oPVnZVacE7UVm+8WnYPqw0SZRZl10Li71lfxeYXCPatXJaM/26qKc9ca23KvSm72LDeFO/Hpn2h/fgXHQdWwVLpbtd6wRJXVM1KVdQvdmmll+4JFQ6DLqyTKYal9mq6qU6kme3Hp0FuubptyddLlfwOer+sMw/G1vU6QjkOWY/egFOhdG0Qzyk5ACg7pz8VCUA7N0h/I2TJ8xQhgbpkBklsRDJq2Wnkt6Q7uHdHQka0HAKA4HdPdLATelUo6c52hlhAv8+LboE2Dzd3nGIhgRGlfHeQK1M3EUBlfbFheMqzg+Z5/FKrF0UnZsnTYM4/u3oLXxFBDnyHDooYHeGh57SDJNUZbMDi7ro+qyS6y9xA+r9hLP9XT32ERn8Li24RfqMUJtaetjIoHjA+bsviNvuYi698lXcnqxsSXb8RVWFy6wUcuDw/nL3aRjChRWpw8qkvoSxtUD3R8DCXxaAt/dOhX74fFl2GBRSQZ7XW31df3dKJ4NqYA4edAOCc9ykNpMo8g9YLrNhOiI7OYyMYJh39w/zcoKaSloPSm6SOJQ+3HpESXU91hqrYwWXQAykmkcg5Od+KhpFm06tBaMiFhLR97/oawjJc9TpfRrMD80Wao3iDGAtjligVEo4rE7VuQxE3N7gCN7KhHgL33MarasTwDIk0NfFpGsi+w6xbNaCmct7d6qA3Blr5ui0rddrIlsz9i8nEcx8k9PMKYBHevgKPlqHsOeupDEHv7GwBWyIuwlZcTjjnJDAjDMXTbUg3klTx4aPDi3Pew9vMIwVZd0fG3AuktdoGzFsfWQ0919PW9vIr7io4o52yZuvfqIc22eqis7ZlZic0UIk5XWTliSBZ38Uhq4w/IIFOSwqxg/9m7TuUe5RehAv//DDMA+SQ9sb1Yu3nm5ohIjU+DUEMbVYN8zrVRbHc3rqEWpKmyx/wuryTebeEvPf3K0v/VIqixXXK9icwcB1OcQ5wuS0UU9rhiL04Df3wYHyx654ikll1YyjqW5mIC+GvV/rwuwqSPWOreWKAGp3mgp9H7N9aK/++/jqob9U5CUpuNBDC96VUjrnm5P5fRSJW/HVsCRp1ilLYE48nrjMcxNtixi5UO4oYBzOb1pyESI4iVs2KvNzwxjghCMEZpgvQtgb7cbT+HWR67tBv7tqP6877kp/o3KK79kBGll2uFA44GQZTbUYPp7R0+ca+s+ASny5r+ka6GQ+OLSU4eRI1ss53oLI0FPoDUJzOmumPobgbcGFEawZ3Zss3Q1Y/nIlAUOw0PqTCONzbqW7YpfSOTYWnqqan7J5F8AjSHLjlykmQXRR7vBMNrP9B/seR10k5acTRsHlpZUpTn3Z4ZdgZb0WIFy0StcjX/nXccv/0L0FvEwFkE0uxGQ55vYWgt9n5AT/dEp7cJlGjBYNzauvkUwXqs87jq0ewCSN2QzpWG61GB3QpAXOUW1TdaPzXuaIIJeShZokMJQSODpngsbaEzUh/IAi/dHr5mJaL8LZ86PdQVNEPvTf+tWvyI1La5GBAlN/callgLj7Q7Vwn4atkXPBICtjYWDG2z6a7vl+O+DU/kExT9A/nAw/cCZ7FlcuAhuGf5JeaByeI4DmwkTgZt+zh+Ui+cgO1A0QMTp3J86aD1Y5q4txXJjDK8fd6McuLGvDrExiv5LCS6qMrI4OZ+RwN5aphOsVZskN23kB8O9wzzjsEhugSkrvo5fnqAQlWyOPIq8AchG6vGAPRca7YdVsjdxcGnJXtiq1p/u2WwEcu5JtY1y8yOruU/y4uuu8Iddz4dH6R/oBrvskzjlxftTFJ+4XZGFEFW+8QY4oq8EHjCQsjpWiRWaa5ze28a5S+XNIi9xdFrzKKdoRL/S73N8ggn/NHi+uXFCIqzStUAHaX6QId30ApsE/387EgUkMpeZH9Qc4AHp6vNt7MFzoBzOs3NBY5ZacsXllWKXty33jAGq6VGBBjQqcWBRxTHcBHBIFlbRfhSluAeVq2JfwURDI2YD4oPR1iEudtIJ+06b6MreqbgqkWcUWfI0C3dd1Uq8YJQfvGK2qCoJKY5wMuI6kpNJ6jmiwnS6e0t5Y/EYllABwgcmJTWAdTEFY9AMw0bybTpv9HYqQBvBnKzh3ABXVAVx3IvEgM8oEblRna9WjMW99t9v5gdaZqaALCCLTqyhGOnTl5Z5KfMUgaaDw55g740wTYLad/ymjPDU+2wonTkpJvahncUyOwKy67BsxLXM8qlHQJNvz6y2Gm9WBiVCDkVX71sbt2d8oYgu5cNeTGFPWCDxErHIdK6iFuGks4mrXZK3R8jaymtbVjdsByw4AaRQzHDWtl+PIi3jk3FKKb/0Ebp40iew98F/R+q9aIRYUP0PRSC7gLTmpi4LqeXcEMTy5ACeKPNQFeaMbQq/0jGnYpNJWMsm/Kluiw7tFJjkpRXoCMvu76trjHT7hTU76VU/7gqHEryIA89J7e1iqnzBZQgw4fjjpk8Le0fdnd1JtpPT1Loag0/e8N5NOFlc3k4hyBGnzUK6NuS2r0pj19UJkfEETzwfYTOopvHzDjv54m3dBMVTN9xcb7czcsdWSK1j/wGmlMdjW1Z/Ip87EiqHp/XDeR1Bp33KU0CioLKBqullERaJhA3FfSjnGHETUpEcUY9dxKMOuxfY+/5waphiA84IYZxgSS0Tlj/oQedwxq+Y/lbOXg81YWLQ8RQ+KokQhubpy3rWW+/7dtiKNiU7o568R6Lc7HLmET8Pi4D+uR1QJP5kPs0EMBxsQTkqXV1Ip0tuE7WNsoRJY01c/y50FmbmjHzP/FaLrP4R9uflsP+mbMPiWKMU1qWbKQtvy3I6r6RGfxp/cLnGbqc0vvkIpwJ8tBQn261/US1VLKlUH9nl/9sjt2zPgJCHZ32/Hy1adXyXruYQcd2cR30v0gbHODL55gRE+I3pz2gD2utHfctmznDQLPUgoHEuxK7co60tfl2OoFIicp3nP/+NJTR4sYTjgF2nVbL2tDM2hg3Aym+/Vckn+S4HWJEJ0IgbmoNmlOnDDXTaYsGfmz9xtSlX5mVXodGk0xqcJ6pwvbbBJ7bnZxeRtkxbUMXlEacBQFYIcsRlbZ9hcyxqOakI5jeapKXgQ+h8XiQ2PdTfBmqDWCli6PVEPitZwTD7cKE1Z14M3+YXLOfoJ/6Rwl/YgH2qX5SvgpnrcRNpjaqzGZodj/0PO8805zq8gdQk2VVdGJEfdIc8PTcCw3DToTfgEwWamGvkIPhThyweIDBNPPeJJ3IEwyR/+3w01Qkj4k1gMpn8dqXqvEG/J+l8YBtAxJMVbnp7bAguZNu/Q5OSUTfFqgW2Qz9u4OfourzgZpPOExGiW2nArgLXmkqR8SF9FFfmCDUSDeVH5ikW+yGldZn3pzr1qT1pzyr9f5XRH5zbUUqTQLDJYhTOQyv79uHAxH6j7ugzQ8fqBbKWY9gCUUJDQwD3w282Ij4cTA4ASCgOX/6ftGOpY7dK12St474I9Q3/VeyqDRC0W+dLF6ObwKVTBuqX3DML+8ZE64bGXAJm7IjaKbzsWEN/+o85IdEQ/BMy22xD+c3WsqHUM03sFYaouYUGhawHa5hGOmjkPedG0gy6AsFFX4jd1uMUbk/UXxKHbZvLbTaRN7XIkVn/sau9oHYDO86lYifk0jK/+E4aNBSq6MpgwiIkCdKjMJOIPLK3KdwxzaCNKAjX/Xr9WT/WwT5dmAeGhX4q15z1b8y7L2bmk2Vdp/ZloCRZKGj2BMavYktv/AsEvlLxfe2Nv2sYJMzLcMXqaDBUHnmI/vtLwgmK7cPR6jBjl5Fh4Pa+S6w4neQLNafXObuqFBYRdtCgHrS2Z2Zfdemc4eEM+ZpbycUsRV351Na8l086Bk8vy9FWPuLVYY5VpsHP5K0p1JoxqJwuur5Fo/yLj2fKJ9pyFgoG+ZrNKqJqQvvTt+reVoGCy+RX2zg5tyR65sicLbsIJjwuu+VUSmNzP9sUGHtI4uSGqaMg6DfhlKwtp1qIIgU9C+VYHNh0DFTIoaejWgeL0kVF7/4L8B1FXSQhbkloBcNlnz2G1fVaK6wAyu+14Aj/ukL9HqTRFlsc2Mr7MsE9XlztLQUE1LwcEFLEmtRTdzPSugJfC8HOZn++nLy1roswK9kfJv4JnYVTN7nYC93wS7OlUKAMp56ya7WqZxrHj4gyl7fj30kwZrg2ZiCNTymYouyx5ATH+QTSl1Rnlta4ofjcNNzW7uOfVvrrJ1HO/4hqKf8N8waCFT+jbbhh2KPhIImnU6oydrKUGiWFPJhB4OXibOYgp7w72w/SKEmCONp6DnMkKNlgUtIcpji5A1fsknhyp+ybpBx35/A0nEl/WF31E/rcxKvj+EOkf80ufnvuqNpwPfhvtAU3OHGO4FHbN1E2S8yvv4MNWmeXhwzos/muZybvY9N+6MBpf9MGweLoHOPbLsEeqRqI+yDccIutufB/pmKzQyAVnu6yA7BuEivaSg2wgjoTv7aobLETuf5Q5ZOsWyQjoPqqeDlBV0vfTpvP46WHrewBRMGx1eDvWBpdYn/WaWraPhMnov4JEA245gym5eL3O73slNncYRge3PZE/7k07kSF1xlYcvnI4c2VksHT6mJmetZfZTXEJr51X1kbzpII/N6CNBbLL8ajjH8p9WtzMcvNQqPSZ5AIk7/svpLvUNcu0xaHF/Oag1T/wfaFOl4k/iHKHxAizNv6WzPXVZOsUHlPP+yvHmSrEcDXI6kE9iaodTFWuAcdqKgV7X3u3oFU+qlKz+iy0gL8BTrpeTR+N6qlt1T3J9MQkN8pJaT+Y4zRaUhNPZ3xg8insnFWqmlzU2gOHAb+GmMrTlWypBxcU9C+mKKe0Se4Gx1vGG5LqtDlYezhCF2pnkyJwX3qa7qSFA5IyYSCEii92eun4GFrb7TFfJnBxJ2IbSVSOlali5fDPccwb7FGnEGACovPHpTjV1VWgsswPVCWv1nxHAZvuoFJuQSr5zgGinOCp959IJkJ/JYbtyvr9e1MdEFyjBbplAeLI9ejQ1RyszTWIyHl/jUpFPKv2/zFEY+YTHdi/6WzXjIyexLYkkAeawwbTekxtIpRyHYfFOmLsDKRL0VWOFuyFu1NdmK8SD3ehjjzvDQolqGd8R+0FFYd9cD69KtS4diFzxLERdd1V/rRgakrPvtwhNqMzUCj8kozsiHU17T/3WrF0HTan4HyF8Vv0iPIKwMacg+OFfEGSO7e7LYp1ZdJ0qK7iI6OJt+o/Iq+UZ4YcZbDDd97+m/ENExAKy8WTqUC33EBAM0LCNO3HQTH1naCSN5xaVxY1dvu4qthhS/rIFolgb/6e/GVfKqZvPBILA1vvVadtgfBYVldnlW4dbqCVxpTIy2qUrIAob5yAroGc6RldDAhWcX1fZi0qY9wAXumAtz9NTLhaC0BH1Dn0Ly7t2HnP2hM73py1/tkJu27W9oai5j5t7FHr97Ad7VAwrMHL8UQH0o6FoBBTchG37kX98LPCBKPPYv28YtC3Q8ePO0+AM6Z40p8/yMGZhYpwkQNDxXZYjJZ8qD6bdWxVzFsZH4lqbYwc7TYtlIeMqFo7NIbwCuqtaEgN5nmdFnTK+WllukKPToVIA9/QBiVcyJQLcm7SKw/FfEg1BxSEET80kiWs2eFEvrmBcs4cEmKO7f/Yhm8oZgFnO3nWZbIGv9BI1p+RyCJyGTo2yyhFwIOAvVEiZgnhQVKwIL3AZSAb7H5Nhdqv8Dggusv6OX6mxi7bKckNsbPPZS4J7szUljL7jdSaeKhvAeVcWUwmdX/jSJPeZShRl+naX4gLoHLBkcD1TauxRqdTmQnOxFjdRS/Taltl6fmFuerWQmwzZPsYLa6f/o79KYUiG40mFWV0diC8quHkWlv92VBA8LKC8rZOlFKr2VaIDbV72GYM5GzUWIY7OBm6UMFv4qAyLz7od35jyY2DrS4CpuwcWf3ocF07t3JcBzxRcys8YueK73QSfETTXS4JnEqc0/92Z1B65i/bjr+QxxZqOAI6OR+anK6LFBuvBBRpDhhvpEK/cTiHUOGAzR3Yz1nBNP6gdiUTK0sGVzEBe0QTG8fjFOBcYDiaSrrf5HokMQlvUPA4Q2hGFZKydDuIs7LVHkcpi0+DOavMRSq9Viboackp271KdEQGb0gEBPQKngqXxEEuS2yRG0YkVwhkNPzKPJuaWlJY6D5+FmLWvE5CNaMByKPQU2JXKIwp7xyBYKE2NAe2j49oT8tl3TXiNgFKYfuIIiSwrrncBHEbPmGyOq1TDq6gETkDjJSQA0DrPYEfzbtJaROwJ6Pv1SaxjQsQnZvC7vmEBAwItrdiqg46mYVu0qAWjEwgaTeiF3sWtC9Cem7tpneNn1LGzuriti3ZCRDuPphOOKVxexeMgSX72G0H7fBg0e+MxfFRgxl338OcLxN9TNfHufNLrp5tU+dA9ta7Qtj+IQMSaocKZsVUIqZS6LsOIW9Db2/oUU/aOLQK6agKxCXSExg0OS031LYW5ncAv5Tmhq1whedt86YjZjfSx327ASd1jFYnlbfWYht1CoN8OAeifhDeajXXq7EL6ELN76z02XB3AzdakrWma6EMHBS5PwV5UVB89KnwofK76smHhHSezM2YD8EGq66IIefjkNuYXTeP0HfK42s0+8E0J8im5IL2giS1qIF39lH2/jiU837HWGVASqhztke7NNN6Kolu/2lT8i31UbuNVaHidj66MVK8xhecbIJzEm5vWTUGwudinVfWkZ/vY5fLtJXyW6TJxIAZULqvfI+Y2YZ6CjJ0aewDgsTxbmlnjy1chgTgW7hXIGoRIgSpXGEW0Y5meSlZshhNFoWZkJ6UK4ZjwToUAr/bb5jOUMfQQXDGgzXqJbuTRH7AeD+Pzfd49IekJ002gwuLlJAy53ysvPAfxw110lXk4G+oEOJ0WMPus0dDb2B1p2oWQs0ziVgqEgObx/9uQuWJciUM92fe/PpoOwvB+1H53fdixmfqi2OTd0lVzgNI/uzQxoW68JbYBn3uTlOTprjQQylY+osFowamubhLULOmcKbwcZSJJQZwZ+y3UT/XUlkYVgn4Zbx134VG2AikaW/Oas5V5xwSay3/suB/9wMptA0v8dhG9LliW+7/yKuLYbQNT+9npZGwc10SLgjlon1PECB2dNK5/kA0xs5n7stCCOEi8XfpmmeYPxN55//N3kBTF8oWV+5aRERyyCHeLV+rSHlYBgsZ2q1GN86gz2zVt3XOw4oZLSmui1RuLt/eQbSfw5sdLhbrUf4C19F+SO0MdR72zgwM6pEyR7pzqkjhOjJ2f6lme3q0BsE30Tjm+XxJrDajC/F8xovwNoKwCHqS050fNQyWVXM3bAtiQfH0j+f8MRFfgcY9fZvdrIvG1TxEUGiFINaVv4TYRmBy1/BKLwvLiGUiBWptRxr9RauOu2AwrhTnMjt6lw1bCYgWAFvmAEYiUizoXIb5z6YYZUbiAHAruHmqDLmniB/JGWDHSvD37bxeWbKFmvOTyjatD14y3BTNMqQlR7PVFUKTzbRXDWBmfiZfPLgb8tKUabAGOZP4uRF0l20G3xv/WaZzpxa2PqcsFYtEUiDldp4Eg7Jr3ozmNvuoFxSEKyw3651UeXw/SUvBwnQCm/V3dFbFqZhS2QYAqNdg2sIjyiEWZtLJuQruJfr1+oXosifdFH/IlMpxbBe9xowwxkium9zqkjwgV0Mk0YjAY6VJ2ziYQnPT6ZPO2Ab27ZOZd3yRifq1lf2YOD/YcHcPeF2dHGHSmHEDUudBsbDwPLATBLLwTQGVP0LF/obvyg23ryLiTrm3w9+mZXny6lAXvWBwzKGhOmC1IqtJwWderYDI8rEQkKqYOPaCFNVl3qXoD+eOEPr/mM7YFJgSa23jTFlP9ozGcQUGPfYYjnExi39wgGqhKh3SsfZBeuELvFw+hhH+KBynl6TUqZUvTFsdGnj6ZRAgLYMp0qix0q/62tTQk5+W9qvlj0oj5AO8cGHQRGa1TQRHJTquraNALqEPbG0Kd/CXVBoG988w4B3s/sckSJbQm5V6ZOKfcgYmM5pLTGAEI3Pgzrdmfc3VH7n+VP/PLdPRHU9XCo8zZLVdn21THVx5d2oAay5d55Gln9ThBxWlDS/aLO7X0BORDdnN5c5DYKdU8rcFdOvHFfX458SIH8QnBVEcKjPG8sgHreHd8qUrs6YtIMc2iuIESOUhylfWPKyRqqZx5PjK0fd6Hf8raqo4gCj4koD222wWuMQmsGQVOHbh67F2NCDHGV+L9gglKfVoogdCPBbn2xielSOY2UQw/3lURD24T643wdlKOcNhuArapSkYWTQSF+kKBofMV5qcFkQBxSVnBKW5C0AgYSSo63lfKmZldut625ilJBLpA39QoGxZDXBNoKhmoJv4xof9VEDUlGYKonG8/GL0OVml7noH9uAGs2FnXwMamcchM6IqB++xaNFk38M3FD/NsgRADKzK4K0l4AEHRfisHzBedVmn4xAVVl/WodQ9vboIWJMEaziklM64ABQ4+yaoXOhvPmFnODj39kcIDflOq/OTC00C0dE4nyxxpP4an0ZRBIxzgRm5ZiDnoYZEBcUlCYULsmuobON5UviWOfFGcYQlwF3AWqUIxRPP1/NAwKYr2zBBk6qjeITjM8mzzCLxb76sKKgcy9VF4Dp33BkrKdlsVATN2y9+h/2IqGjII1kQdAcc3pespfczmJyh3cHhB9/UlDlIpNwDOyM/sVPrDQXWwPapoDvFvPXxeD0cmbll9QdfYBZrKgfdEPBMcff722fZocXSfe/LCKh1KNkVrzJu+mZuNCLti6cNWz0VdCHAIi6fL8DIXgroBLeM44VHBHsODSdE7tcbvQFMB4TXOmKDN26LQwW4FM3xrwEMWOrwqy3cRjxQcbXFV6PpmZpFHW/3cUA7tFcLgt8QVbuKeRvbhv4+x15qHMtHa5erZNinq3eTNNZK9qHihoY8izTtdHRO0ZSCOkHZbRa/LpxB0MWylD+UlAPC5zTaMgaZGf2RIyLQVOjQsmNEYadK64kTHv0kB+3TDQFuxsvlqJxkFBWDZ5U4SZQnrZdYqgO3AFcmHKh6cM+1jjg4UmqDXKaVGYsJGSCB9M0l2UrNdiGQovX/kU/80zrAaZO9nKEn38e90gqoJDjC0JMTxwSO37byElRiecz88Je3VM6mxR6ZzAZKtoqGYkgdNTohhvVo0vJvcP8gt382tihC4X1q0s9UE1ElJtiIOOc4RJG/AlnovmRV+RWiT3A5gN2Dzc2vcNn/S4H4XcFCf+uV5dtVqw1kaBY0ZHjZxONMdx4e0/+GWnX9ACUG08HMGJnuxelNWfIAyVEZ5GkUgpRGiYpY34XzQ3ze2Nr/ozs9A1KNUBxEWEMcwLrj+ODh4iwUVgGQ3q8yat6shvnxeXjHHoAIW7G3IJ3e5YO3yucxRKiIWcPsK+o6Gzht1f7mSlRz3mvYFYvQCuSAxZHK46ay2Ghb2bHzVbzPuqZWg2zs/JVXRkjlItJssOb//3Uzx232uLcETDFfwTlcPxSdTPec4sEDLmHmHWMMAc5AZc6QsP2m92NqiviapcVooNZ5lcdxe/IQth+iXYi1FNq+8DDa107nYBskL2FznW5UriS7JNKLiDM32sYbewmLtrfRqjO4CvLtVC//0e2IlnT6RhTlTvUxZ61jDc0ltSaT49qSTcatwepkH/IRHm6buWnf4EGFHSm0Xo30b89T53YUDuD1Lxe2Ow4sDVqOhpYObx09//XyZDQZDhuyWnpBb0BsE8mvbmIfpVcQzkukcp3JtRrH833BXlgns1QTDBcBW5AygzRUPvTyCMEVUTiapyPlnmwpyDU/xZ69/keO0q/e108ptj4+Gzw367BpU/YbS29IrmDFRLslOJvEIRn4j9IQHgYAY7f5XTAIel6D8eQL9JeHmjr2OL8bECeOkR/tIZIsEASNVem1MJj3tj+f+7MJ0kwtFpy/MV5iPhZjvijsT8+qL7AYl7E5aY45piDP8xsyCw8FooqKz5qvO2LqT8tLlWllJgLGfIbfCwUzyPQ0UuDrJFSJcWR5iVrIYSdiUbHZB6lkAlVmjUj+GbwJB3Tee8hjptbBQipKIjYkmmqKFws2nHv7kAjdenEvZ6ICyjEB96uA76gOOl2zEEAKuMUOby1oRGyfrSQQUnbyRXwT4vljFNe05aKOqFMJd3iu9fQaVwHZLj+IrlTZzTymwb204CpOqBvb3IFy745MfOi+sqbDndq2ZHbV3IqHSayDCk38HX1vw4B8gOLqzqQTpZtk+QBlF+NvwvjEuS7BpYJbMpWSNoP3r74Ku570U3mTQ3y9DnrpSLi34YJfL8ci0dvhGzAd4ddD0DbVcgQx4bMLq1HDDDnpKLz6QxV+bOuxTndl+BdYOQNOWU13N1G4lf8UAw8v6GAs6tE5oGW4Lf4m1zqsfno45qhs/qL0eSIg3O672r9fPnb8Ab58Rw9q1tKSkKZP3hOQBTh9ZtA7FRq5BAQzyyGs85lEvH7PwwRAhSKv/HCRc2Luggozp5GsaQFkxQ2KU4UBiKH0vMBJWyK1vT0sd3sCvQdAmCgnMh0MRgw9y7ajdy2OxdQz62SIAdjuRDxO3hGaQW5+EWuRzRlbat541yQCL8bl5f69yLJ+591txxnm+4kfa6qHCiyq5efj3OQ/SFvbx5Zp/suz2hpV1z/Fe7yT2PN4Vjh7KvR+3zNV0tRM52JqTqqR1bC0Q1ogH7y/IDoWJFU4oBCXf7JcL61xb1PpSb/6Ti7C29s8nDnQB8w1H3eU08wGSqJHclIfwmNCKBN8u558RPEV6X4JivLSu+2Qm7J+FV35MYic+TcU3iN82dVcQenhnRIYofXBNEdaSIyXdKSZ4FF0h7CGftirpzwBNqt5Lksf2/Wyt3EN7vSkhy5fzB/6w0HQumqewtlpqZCcjRzQVA73bZ5fpE5pQ7eW7rjoQAlsktMIQdDhXNt8Lh4dTckVd4wpMxZ3K1wI54QPKCc087yQGfLYyyPOg+uDmVhBYPqePd5kOBVXzjcLsBEltuLwJs5BoyczfikKoUZG/8h/ZSlArRAxtS/+I1JBZlLlp/dpvCtFu1WvbY5TbH3CaxqCw/4tR8Yq+D0ihY5Mtpkre/7lYatAyOSMy7fGXd9BiO2hpNsDrlnFnSJImvx0j63XRUg1vddv0sLxqg87MSJ/VkXy7RBq+vwFefI6aDFfvb534D1BiDRaZ57GGFjCGq9hoitsmmt66soDfZqfH8kjsi9/u2t6+2HUCVfjO/SZ4UbsT/F8NeSsMRdvdEcGEsQX/2sBnc9/0pRPnNFVeF8f87er9pl0htf8bVUdPM4eGgB0DNA6YvixwnteXzrk2wo9mpc417FNfXHsaNfHeCz2OzS3Nqr1mGP1mhKWXI7UdzTVhKdJgxOLbF0ajGPlSq7NPe2O/gaHnE8BQBB4EhxmBTCp6+uPWnpdscDqsPtbGbzYsveS3aWTbQgKmgZUXqOVK0RD4DB5Q5R7GIQQyDVtq+F4Dc0FQlsRs4cO0IY5CMigh+plrkNJjV0zdYT7IhoyBanTowcq8Ll7AsmnR8jqg+o0gZoloao2ViKYgm9A9lJwQ1iyIOxXaVDoAaK4uspZI9LmNqxNDYLxGXG14SQx8y5NOxy59tIiffH4o+b7McGdbHZFTHzyiUrR+s2aL9LNCuHxx7gi4EowMRRZeTedwpZN8zp/8U/LHaWsYV6m0BRsqqCqD7G0tRnInyeo7dGKM9XHjFIjBSbpZYvlEyUmGh5N6+RprsEMzIpZ4prLEIQ0I/WzyW8UW7SJJo0dS5CloK2R4Mvnnu7HZz3s0wYwYRqJL+HTkgY9jXX7A4ZsDq8tmZQdvI5uCHeRGVms1JGcmD/fejA6dS7p+o6SX6tiUinu2QKwUeRAnytSzM0j0zvF8mEdTl7FSYrQxQTIKuO+jVXn4TiBatg8SVX7Nj9j7oQGIwo+HNYu/OZZZJlaTLdNkDESTe6pM+WEckBIkba22l6dZRIDSEbBk8RC0nwymPB0wuckvy393L6kbVdbM/Q39PU7xCNZ1t8hKGMhh603l5ni/ZeRFiVfJnSS+PINi6zG8IwOutCX0k8ALJtH1Nt6uOGXq3vsA2lRRQVjmd9yqdpk76zwAvj+ZoHDCA6ayZtCujGnoN4qH/RNiz9JoJUvqEwsGmEmn+MBmBg0RnpARQ/6VUu0Uv6WCLQy42Nlrll0SrFa0q2nxH1JErXoRsnxt6kAjBQkuilRhz/bKk035pmDD+IYhnpvtqmKcm306dz3Hb/hGkmhufA/OMdxYxThw/tDzzsaq8c3J97po9fQ4vYNjJ81/wDUAIQkVBfxPqSQEm9697UNAwOIxKO1XA811SqHAlOShX2XAq13JExU2F7rCNcSZYJojr3fzyYoj526cqWJNSkvGflqTiSqGXUrWuwTdAQintnkYyX02JsWHg5sH/s6nEeSpmZrpxRHl5QxYoqauvcgIeDgKci+JO8K0bh7U+/j0wWMwFc2cgKUPFOYmWiR1OikUM9NmjU9zOBbYW3cYF8gv1AiLZQWpQkLWZj57fnyMgOjM1F/NrJAqPNlWSNZBIHKYKAWTDwqZmdRueuVTEkfz107HXgiykSLZLNXm97/SxvJaFNAnzk3XN3rHX4EeqT0cHFYVKQshEpI6RyitQwnPSgjVObbMe0lEJ0x8AZT5XJfKpDa/lrjB6riQD3yLLX0hT4ypXPtgiKjw8kCppMtjNdcdZ2BvKj6Nt/6KdhJvH6nB7bZHKlK82GYFPv0Su4omBhL+QHBMRtgaNk20M5C7pHjV2hCPzXpjlXjU5yqWg+w0/IvMiQJaQKInFdMpO961TLD3JDJ2CYrWTxH8DOPYt/nsjWD8fwdav6KnL1xgNntsagNy8f0gXrob2umY+jX+ICsGDp5ukgw3hXZvqDwh8WGPMi7/946LY4OZiQZKrwLXIVasih1Q8xUloSM2MEYbmcC0ucRVmEBvAfLTdVGxZer5qTfMWdz7rO0M2jwhhLgnDi9fn7TYTSvsXoatjXkuV3PJG96qnrBltiIDXudNCWg1h5F0g1wKH1/Ogr/H8EsVE/S4AyKUQjUUe41+/w51RP6yuBnYIHkWBiodPvkFn8+GuoWe/A8s3/EdXl1fvWJhb8lValQleUaMwkx1VMbG9pDvdfCoBc8SyqnrJXrxEaEKRTMAUJCl/YWuuVjN9alke5kU2nK5+rBYftSflM4hgGBilIkzCeDmTAbFjLmB3k/eTKeOyqidJxaTfQ6EqCSgUzF+v6fi4gEPIQDBlVzqfdLuU2GJBUqViKLaBWOurGrz3DPiacmcnbI6qW2Y4SCGFnmSofcafshQeQeo2dMwiv+vTTocEnxdExu5/kvd2Z9Sor9P/nYklGZRZzi7gecfW4ynagvLD+DKEJMoj8mHcJHv70DKYeADtfzKx4pguK5PZvryy33oxE2WFlMoI2FSkyoVg7R+iilRd1gqVObbnIrRcziyLvualXfREW1SUCtx2rdCN0/i93JcncTtsR2D8jJtH7M1EKf/jsI7SZUWn45efHtXWpfmANvMUI2pemWXa67sJXG6KHqurGKoyjI8DuJ2QCfQNpeEcmq5VSQBNcwgynmZh5Q+ZIppEEeyAet6lxNZ2+p+TZEeA/nY6QgzizbIZQlW4TADi63CTMsdbSaYZZEYW0wwSQnP1ZPOe804rwb2nzLDey11VbetCzEaXrIhXkVywzUfTu2CkXcR0lLDmR3rFVbgxkO8FVWuW1fWt4OI4huNbQ4HmuIOE1MiZeV4zPUqOhPXO6uvpbjeeGvtAdt4wWa9uNMOg7/LGvWe0GUjKjWYqgHVonJmFCDmg+x97+e3fRdNTctN0AK/ICvfcnsvAPrQmPQF+7YoJJpS+O7uXr40OlZjXWeKYonoV7OSPeKE3vwbFf6prNk9bt04VwLy5WSknnacEf5KsUNOtzPv1RJ02+YvMIN8jhH4gmUPzJJzTZbVT0ZG8pTvCfyr9J5eZoJtDX9U6pbgDnVB9pa98WSE8e6/CJ6fthA1SkwkMwrh1ZLVdPgdaaRyegOgCNHocsyoQdFV8yrT4cHya+/FHhV8P+sIDuHT0iEvo5F+oBWjebePvjW8hekxxxy2IN3NxcX9BVhwBmyxQuV7yTlu+/3R50Utwi7jKiQhvFCilFfKWMpSGJ7DVccepur/nRucGgYuara5gsxrmOTDi/FKkT98qcuu0xj5/oAYqugjRxkoEk2tfTXx+VtfCYuAC7hslVNSqjcbIfC95yR4AunnD9pSL/vp2haqBGbAimmx7TawdWsryInj6KV+9I5gqQ7qiyTmtlVpfcJeeB4YPqSCTPh7S/8qGV1keKQWPWPjKhhQrgB3UYpYDgtoyH1/3uWLUnD89Bf0Bso+4M7h24aw9ylgIxTEXdFalDudswirvwkGllC6OYIyRbu6ZUiWdgxVXYgWFCVHNFDFfgPW1TPkDGBOp7i7YJvIIckCsgFU0REdSx1NS4cazMfAdQbIQCPSQiALyJUm1g4aDDz2JMZhp8Nwcl0Jp90OEVa4tSvqScYM+pRpNr47uyMSPV7DtF+e/qT2+QvtbuLJRhTgsOeLHHishNPA6YSZvbpmWT8M3DQlMOE8hrihb8WAVXVpTLvWfrWbTYaSzy6zRuLfSimhJ8pwHwX+bWE6+zn9tLrJTC6uo7QAdLb0EHkOPNyoXwapc5IJDXgIb0Dg6pGUMkeKdEEcNGS8PO/13llfia2qHw/XtgsywiVyCZ08cZDga6mJRlNezXGmpq3FWgiovC0OXyaZhUHtESXvkulcRDXe/4QWsfSRq7FLoa8cp/Vvlx3DJZLcHBy94MlYkpAdXeivgwCYcq58tUZh6FLZNbMOUUPNPkZ9KoJLekEMULnM/JyEpo7T9CadtL3uP+amqq8iRZTGn/l2hLqmlslfLXOE9sSYeOdBt4igIz/gxuvR5l+UNQKvJDKPic5QNZ5L+i35APSeBnyGtSfqjt+DvSmdmuQHgK01rbyTXf45/qajS3cW+GypVzYfTtPjUUiAJwgTq9S9/Cwipjnw9JPN3UU6y2H5sJEJKBjAcdMFJqgP8uUy6CT+Nco/eogKRzwKiG5VJRv7YIuDM+wSi5m1r2tkCHXPQMx54MLDoG41nYOls3S+AZqgfakfbCbQ7gXTjjLGtffUJr6svsy7waas+qvncfQU1MMv3QH5sxraqppS3kqYn5fav0ljCKhsCBbS/Vh51JAguC7AK6g7dzin+4Mdu6H2hiiLPopx/yM0Liakyyoh75JtP8M9LvBf+miFf3VwHf7U9FG75sNDJtt8lfhjp+/7HdONdvK5KJD8sgN6pbCJgs0W4IdmTmIbclXe20Tv0YDArQRICZMyuEPqYbVCTDREcNRjrJF9G9i1W0Bw4T0h8CG1jCa3Sx7elJfczCm4isnP9V66q5PyePgfaP7CqP8+tFj8K/Mz6Nllnu12+Pupxua5w69hyaX5EmVlxMN+LNR6hhA+q++h+4kcwMlV5McPQ1ipie+1h18n9cJAazr3BJFx7zw5/f7m2L9jMLpXeWgI+rVdbt16JzFWiCA5eEt6vthKAdRs3i6mqN5xIk0349b7svsjfRiEzjdJzrt3fU6QiKpf+M32nlF8oHrF1wkHMjNjZVPCy1Jsn8oD2lC9HKUO+VSsDxYHOWuMDmAPauyKtx4Y0vi5jMXBrqPIOzNpKQX+dSzawKaZrM5GLDjcpxWaVc7eIprQtwkjqKzSWaNR7t69weqyJg5l0Z37pI+fLXxYbf9nyKbLsv/iDD6XAQ/XmRfOyZJSvMWzdvcoehUbn1h6HYO+c8v5JhSzuIfw87Ipg7HYG1jdSghgAM0Eq3O3RNR8E8s4nN3ffo9aj8iZCa8ic092yWJSkmgC0n2J0beRmiKxO+w7+Q8kC3w9F0T/Q1pU9lFDZMC+ele3D1BCIysrVS18lDsYqpo5tX2R5lqpoeMIdDnql4t2Hp5tS2RFKY3DG+JgODPDE2MXDYiQ4JQsz+VNQKMAQIkpSOSUgh/7PjrcsT9WzLgAAZQ3FXHeBGbrCPufHkwG6nT5ZmcUImdo58Lh7pDybW1JIZ4q3SB96Re6G6rdWQ0pi//JANLifv19x+17IdDWoRdnTKbKZxJ4ZsUstfu2ahtpp4pji18EalO8/rGkqKs7yZB6l6mrI5cqlGkuxgdFOZRN3b9O9QWEEh4n2kJnfiGgD/aMlANi+fub81Q9iBkj6knmYMbV3nXhu6HqkunEkoeWra/EYALQGeBk0xQqiG9QuqNv0jqD/YimcF9s2CBnvnSHVnwrigntAFsa+YFcfxZgkhEUNqF3dkFfPp3Ufjrt3sZe0LxRz0pn3Eiq/hBzoQX+s7xSt9bZwZ8okkE3Cq/ctT3h+uPjATyqcwTUChFJ4TxAyR/PIBsgvKC1HhivBvb/5x61yO7ML7dp+o7HfMYg4acQu2oZ/LJ2ZhhwA73+M+O8MUYaTGVbPSGkC2ResJVmb4bclSQhWtL02H2XfMkbFogYHdd7+fiI088lIqNyelF952o/ccp3jluhzOBtA+lK3J73tRS0N4ou1nEX8U+cAFUb81QTNfClB85eU+l+BUUthm8xZS18GkB6Bhay5QlOcIUWcVI+yjHJg1l0SLeMRnzSLgFDQJWzQD+DTYJAPqcnlX+xXpfvCkZadRTDhSqCSmuoxuOH4YF2LPTSm/HhLe9o7+kE/m/BWS60jWz0+IxvAUP7DyyA+siRpNa3uxNdH+f5c+N40yXpuebvFhttaY9tLqY+1jdKZq9w1lwr8hSroAFHZVrySMZiIovzq7G+ES/hDt7nJ5OSneMtIA9NfKyNOuAng/OU8OK7OD/dZhnnF21A1dLPmNKPIRxqqGNxvVL67x6IiODesLl/R6iVwPpqJKqPOJkT0+Gw/oJP5HSvDxbfztv81SY0PaT0rRoYo/DmbA2WvVjyiGp3K/D2WcRv8kzkjlkYDOfjY4ug2S/ASbmx4BSr/63Typ3it3cxbq0nyvOn4ThGGcPDTWiJ+FsHHJu/PbQYCmaMgZ3Al1098FANWiaPgnvbMa+OSbdXpj/iyWm+ZygC6I6uLjm/WAElVG1YB5t2vkJWkAVv+wpfL/sQtlkZ1M/6Y+kSLxw4m6P4coX89FgA2uO/qQY/EX+gLPz7QLokmEchLwZ1JlVNkRVP5+LVzEzQz+jXUoBbzgQOA7XkOCTr8EeGDuo3vg34w0DfvbjcbYgq3pmjBAbiOKO7AaObuBcwWJLkieOcazVDiiKpD6xsTlIs7vxw0cSDoJd0CQA0mYZe9QZdm7+LNwchoP9Dmgzv8+uwoOGSh+hyymUQKXnTZXLSDPSD3URmgUb7R30Gff789cqWLBIn53wvX+OaDHY4FJTllNopsNygThebyLZB1EEk3jBhG1wDk+w9PUgiXHLFhw0G5MbcLfQ8L5fybH2Et+iiXuWQ1ZVDriRQPR8gGjvldzexdfks6LckHwC6fJWZWXEKEpxlN3topPWKek6zKRhd1Y+XJZ3n56l03zG/A+0bV+zVQoK6kPnVQAfip3taHRHqMJxYC8vEBSr/CFMguffe/bgWu6snXZQVx6jbDNvkl4vATmwtUqatsLlDmj5R6S+sfi4/m6hiza0ruZYVGyz8K67XxDO/Nw7WR1qJBzTz6/iCl4Y+7iBD9KgyS/K+1153ql1xnUDDXr8/Qgnzu63/t3oXJfrHaoJ/3Q6NUTv1/Kmeoy59vWZvWyhwBvOQup6O+BtJxDJL5s+M9wfAesE8tVVo977LH6ol8L151GkZFx4Wy09GG4XFYZJRmgR+qNVBwPUBmvfGNnPJY2txW0xDCXb4T2xKaxdwo6ExGNCw2IwR4O6OOu5TRSrPSGBvIlPk6LD5PZLGGVQhi7oTy/T2NTsw4OlxtaNqFxxJYxBM29mOSkbnVo7q7DIthgEdgnLXld8s8uVqDtyo+BvzOn8r5wbd54jl/tr60VZKpfMdjSYD/iDROW2V2Vrn0hJk6CtRpG/+TdmknAZlXdAmEb/u0LsEHNHwt0hGntXgD0JFunWeuR9vuf3LeeN58jGs9xJsb7OHEqKExuj56Sqe3MtpC8Grzm+9vEoKALzwrc7qSZDiK/O1j9/VmPmofbjRpeI5J4wWh3LoJ0+cAtQ+0DpZf/1EcDbJpr2yeESpD4qeZFVbVoDI5+psusDoe041jF9Iak117TFaN9VWPAxoyhfQFQtaHRIn3uemy2QIjJABRePS+vh7hbh248ls909co2Y0UKgwCSc3PyyxO0pvpR3lSI1/GFIJhg5c3PfZsVZXsPxU7tOllEOSX/Mw8p5B5PMpMpQ412Kfsl6wMtDdIO5MQKEKIyWBe/37oHzdSw2nKOSmRYTLtoe0c9iObYNAcko0bdAygkMVsv+dbSP7RdwcK5Fj8pbo9VJwD0323BUN4qEk3n++q9Kibi0VbpUu+w93zGIOBe11wETOfz0xOdbijZS9yneuLLYxYuhyPmjJy/l67W0LP7mZjrOHxe7SZRltGWDdtbohprC+Nwx4trw/WKyDjcBX7A3MOJe7OM3EGXJzIqTg1gU6ozlsLyYgJKIjUscFfe+nk7MM/YYuGJkApTrbFJb7NE7uA1FnqNSeFVXtJ1fBtzBAuhQqp04klYwTaZniGcxnqrWCLokSkGONJfLynDN18l3bLl7Znqs1rEULoTpj9gxwpCc1kWCcRJcOAYVsMWEWfWEwpYpRmvM66TNqqVzdijJM/EE0Pvu2hjsjHr8n1uiHhyON2UVgxh+WGSgjXadzkCY0R7yIELNwGCZIEuNBEp2hV0OOw/kf829kL6eJgGetd4bGa2w/b0PYjRfV4fbAp4ryf72iXCmwudZggbbGGm7GmeHtjeDHEx+8wmhB6C93fUMlglbJbYRCsTo8eifksq9Vp7RscE5YkKoH8SUBwjBYHdbPrjvhBtU/GSQP3ydNLI0EgZ9k5uHzGre3uceetaFsdnSXhI9mGe6UW7N0C8gbiKsk4I1hkFB657FAOEmiKmyivfWe4Ue1L0XVX4ecRQ8v0TSYc+okR5d/MkoHPknA3uvcQmluJFrslWUR6ptDAPdJafyEMUR7TqModj8JUwrbr0SfzQ3RgoMzeAmdj4j+fqBaWhyyP9+aYKdB1lTnWy3Ge2vScRaH4NDLv4xbc9hEroSXxvfyq+GEmHZVKwxPbVjhc0AjBuLjKY+BBMtJWVw6GMwlobEXr86YVJvbGbWSkNeY/G2suDdlV/eV7MmzUplK6M9UZ5aArwpyGpqiaF50SlX4FJybYjIqeW+cMrLjNd7WKAvweBIPw51AVWb7kDhJqhYB+njBDFIzz2puRNV8YWYGADYUOYeYRwthaxKsXQVdLfS0j2OdIopeRiMzAam7ClENmvi6Pb3SNFm2j/CsYL1kKMtokhDqE8wF+dUQYIkyVxV7fhRs6Nim6Ry/8E5mX8GAWNZrIxNv1PDbBFUWcS9kqRHzMS7C4ZdTfn38wv2z5hZjdIXXKeJTZHxeW+OjmvvH1nrMaSlKc1elDSg+L+nIbBff1DY2Te3QSJ1VyOs/y3SwIBJleWUp/U/30dFcR8E5vNmueyvuYhculAg7FblXVIBMiDS4wp2sCKL7VyvmNSsq7zcRu7dsQ2gTMVoWLqI78dBytLPwGPyf4Vi84ZuvogGqmoJSgY2JHDczcQHNhm4qj8g/qnvgkAlo4FjvhcGCQbDSkrrssRPRiNZL4dogDFijars8vD93ANDT/tCqVqGX8TSYsciM7w6K8Vf+bKNHFehUD46xA+XeUz7jBRRWVHfoDh9WCkcxdOtMEv7zmZBkRg46aPWMtTROgObTQlZqxOUYntDn4q3cN/ThZWs+Ip3svO59IQb86zeoAynp8wCPi7UA2E/7JIjM8Ab7gFAnM7hSlrau/+dXYTxw6NueU8ycmSG+7KUxCKFgUSeFshsyGXaRxMnGEAy9Sp6TXT4Py5pgQEsRRZvY9nxh9emTH0e/iWmdoU9Sb1G1NdTYxL/l6xquCpbeS7Htw2M5WKVC60tiYW7XGEWKeJSJhx4VBf7R3aeDWwPsV4iRmLsjWe8F1bTgmy7OGAx9R5zVq4XKiYEsytJdk/pdGZxM1PIA8DR1kHMluHhYrtl8/pvDJ9DyZawi5nEWKonDjnPYxMfqhb/cK+AJuK+u15IIux4jjpkYayT4m6P0bAd/pAueEdNFfFfA2r5n2N1PBSYdOsXiJEedmCbyQGG4NTk3hMLRtHa8+Ba1blo+VDGUi51y5QLxmjpRMNcTfWd2wOtSS2a7BY7Ne+cych+Aq+BHL43I9i3Y4jxA3cNi3ctYTg/ttoRMWNGsA48pFq5kXG8f5kORc6IeqkGAQyDmT/BqJbB91Hu3jDNsMb2mMF+fbEypNWR0cAo1sVBtWkBxGnKis7vJk0TazQs0QH9DIQ6EUJ78aFsZw2QhxSyrAgBtAUD1ZKvWNUj7ljIjIQowlK7aispr3nGCZmWcTfvKDl4E6yIE54QJjPe4p0kjNgHAj32DgJLinOfxeWbMw7lKd0m3P4nOVw71vHkcRJMhU2UhFSbBv49KuUB0C24Tw8JIqVjMhUIRBu1WmRKGAcIw1wHPHDEAOrBjeyZNxPYBVUrVspUiJDA8d23811qB7ba35X1GBSvvVGVszSvoU6T5VjUOUgvhBIVaQEEQxXveoXyIN23fvwg75QMWav60gn3Grvbz5WyFIHzYq2iwmMwLWiIOHUh3DberhUCFRv7HVSod3ZpLa+6Aq8cjxjOvWhP7wz7mWYYEvKpNmIws0LyZI+qdByhcJKTkRniozDeXt3g8LTM0i8LvG2GxI9EPmpWWpguJsPVQrx8JD4O92SX/U3ERnq2Lmz9WkCkiSas09nGtybfZ48qn+xU2A9NnVonYr1IRkohYD2qmkUz++S1i+JfpsvJFGIZfTYv1i+JR2odPU/5g30YegZKzri521SGUaPoSli5294ommtuHjWefF0frM+aLhZLl8WbeNMmoZ++TFT/v+AXKElNvR97NrbAtFk6rdC2DR99wm/MmkGCQ9TUVnDfLFHOSGOx6daY5ToXc9yaP/Zdh9dHo6ncpTPGFp50ti7oeFkSxzuMLj4ztKG77REkumVH+YkZOlMdZgprc7uDgowjBTlmF1Z8mBy2h8qrslYfUTPVzPUfLiuNO1JiplbO4xsUBD/HaDyxiXXYQTxh/cnbTaYVHqt92jMYwSgMFmqowFYE6ynCX+K2t+bciXhkZpQlNFnt0UhjUM3R8ovdXxLlBRBf3RuA+uwW3/3D1je5hHhYFVgGhmRpw9WP/HqT+WAiJb6CBUbJw/ZbVZdcrhWcjpT01iY9RKmme2VBgAXZRUKVW2vY49Kq+5YzQbwVxpAYK/wlewJXk83Blg/h7dXPKger/MVh/6yAhd5hoSeZ7E7FL7A8NhGTIad331/TTtMTTYLOBMmkoQBPcD4ptP49BbXLj0ok4aYdHGR5FiWbOXz7b+EuZa/kh0+8TkRGQuxXSHIIk6K2PlYCVHc9byldp4BpedMbE5+FqsxZu8ycq+lY8bWjHnCik9dJIxv4NoSvN+D9IMT/ow6aRxY1ZQOXLIq3uc7RKS/f0nVe7ytAqD7I89gTP10J6G897GQbtqS2jmrnW2ArIZ9SpBfHfh7IgW3/zkVToSUn70fBxazHchF6gAwygsdawatliqY3JDcWn9z7TVMdYznzcLIwRV5mORg2hCaQCv4Ly7M7BIpnq7Uez4XIHB/su4/n1tUGiVZjoA2JMvUkSfAbJMNsBviNUICrNSpLNO+gaIaB3mxRU99lzXqkemSQ3acn11hHsh17WwMU4PzVZuo4GBjw6/dBCpx28IKCVf+C4Eu+ohzO517EPmIfVt8h9r9Uy3k3RYVd8TT8TJwUpwwCoWDFUnlJiefq1DBsUeWFzk+V2QyJz9B0AbubeOV2skxSx8HenZa+x7rXTZ3abtcioFkFH6Gr8yGp2Aqk4nNMi3Yow0AQkafbA9CP9Z9efMBzF5fb29qv2rDBbV2vAoyXAWG9YX74xN3Sy7UmmU/f2I3Pzdk5EbIKuS9pVRb3zDVzhB+98tsqqWmkdxzwduJ5vTUkHPkst+wCbxnBo61HnHNrTeIhCKOXqKHSpwaiqEf8yb09YLgeAT65cdxdp6aIQESTRisEOy2rxCaNHYNHJih4WhfnclyrsQ0eIl4D4XHvkJfJdHbjF41+ItBQUa/uM6yczmwUsy/x+3IZN2tjSeBWD9XaR0okBWo5fGAjyErECUVNBLdZUtv9bPjNnwY08rcZEH/O+OrvVNx+ZJ/y3pdHAGd62y9O+/Y7GjfkbAtImsv/dcUH6Qsrz1g+XGrSyRPM07P174Dd98ZIgokHiKnMEgPhwW2WMYd9Jt7MrqIeSnVn437/Ge+6wXGvkl4cNrwfLwOM5pNAiVadKQfFYiSy6O+LA+DvGIOpGtnwVe+caO0bCTy9VMiu7SxmCx1ZRProxiyEZZaYgsSVNBLctn+MY1Mf5n08ub0bGJrBBgiADQeWWXYU0EdYvu3w0wKht+rL9apTtTYrIYHqM6Mei6SpLYqf6hgjEr2eoxxt59VotGM8cCgfy5B0pydBcLC6feqD344wgRx4USOu0A1GpZAj33wrniLVf7tlDsSQIRn2MyEa9E9FofQhXQr54qIOIqeuUDGzLJ09wK6QhlG2rg6wRtVkjeMdikVs9GugHChWLPFAzJuiTr/9glXebc/z4tutXJ+N6JdLn5moEZQFH4jb5YpOE6ZT25aYybZSMlp1w0e6wmtiBzjyoHENg0lPWGpOe96YdR1jJG5hnDC7iQFQyc0pLMo2w+hx/MLRCis4d7LECnl+Rc84KgLYBnM/mUew9r+OexjpW8oUcEaEnkk8BNPbuMTTT2T7uZmWIlla2nuSsfQU5yrNrHLZXOh0Odz20OKKOKJCcgROc2laIsuPN+hkX5F/GPknMi320gzCo4+GmhWJVHiMlsEQYnqZHt+OmPb5fxA8+4GBUjV59SQ22UwbnRxwA6yUIPFKXKafRbFsOixmjA6NVKnpzQ9Y/9rpxusfI9U3u83mty5XpA5FUx3gUE53YN4PlOOO71Vgd3yjUrqElgYpY3aKRiftn2RisDCRGMHO9S+uF8ImWj1wHHsaR9lHGWdPaq0eKC7BnvFEoaVJnW/KHFe/JRzZkDWjZYq+nF9WZBjxM8WD6ke40p8iY61SW9L4++EN02clszW6Y4sfJ8CSd46/ml9oLykDZmGIHhl2WWYu75JjAF2aFvSv7zpXxqcSNp0XM+zOM13d1Xwtx2/GTDxpJnQnoXHR0v2Zu+/Iwq5Ar/BucQK0pF6Gp3hMqZIhP1zy3IS8QYJhUmyCTZmINr7DyUykCBS6fwzminpU+CruJC1vM2PgUahfqWpsEO9o61rDVq62TMueJ6CB6ugch5M5d+Y25eUncaOuwpmZwVbq4Nk3nJV5oHTq2eSa7C3Lmaqw6/JJJ33K1vEc3Fuc7nzN88Z2XZlrvabuwgTZ1g0rJ10M4RR3/wqLMhVMGzluBLkN6laC2+lPjZlagGH/GA9E086Qk0lVflxJqzj9kyykJGTb7XPCPgeb3PGyC2RM4Boo//HWVVYncvwAt+wZjKRX/0gp0TZjXfI5naMhhNMqkF4j/2v5Gcu/XrzlEKW2SlhwmqN5XhZ4z9GI0edNM0rUGFImT2bV6LWKj+ShcB217izEhAsTC4+xpxBG3XOT5VsPV8OFyuTToIKAhCNwpOLYPKaw7p5F9FAg6q9QTJvGAaAqXLjoLwiBtfrYp2XAqWeQ/7KocEmaFasBLZR2pK682ZdP6Ogpy2Sh7AqdHgZ+KBwyJSlJzK3NZnfHfbOnlTfezesquV6/+zgnIwMuSg2WFk+3eRBc1PQVnih3yI1XPxiRpP3SoQWsS8JqkMmqemG0AILOZi5OCPb4jtXLgxyo/uYolIAIgpvCIS1lhsx6jmcRPwUzFnH+CFUugub7y9BK7BrWTKrOQRBWNAlSouHkrEgJ/ofMDEWjc8eOfUOgHjd/+CXA/TrXIE1cUW6Iyr80cEXAH3IhRvBxgekuXkpz0Tam3jrMZwK35QsmZG1AbiMcFOUpaVnJM47ouzJRQZNjwn7/Rzx3dnwI2Yjauv68Owo/GvRZ3tR4R1lD+SvViS3arP+oXhw5eBOdTCn7mj4Tek7c0aEjxybzvWlk9IhyUi31ryMk2DLqt8/07N5DyIuwBuYxw3t9EelV3i/LliP9Z1oRDca6oMgHdK3YWhWO76UOLSsIN641mqRbx+at4nFOVLmWOpTt/hPt45m82f5ysw7w70l7gwO2jKQc8mnz29M0V+dQBhdHhJHme8Ya8yvO2+hTzO8dRjtqmorLcVcnpHCj6515NGhxCRk4f09hXWWLlqZYvHe7iZPIq2cP37u1WPQqQ7l9DVPhvgb6N9F52jFn+IirfLrmO56atCPOQCn/84cthGLnnofL4xXrCYmxSciYoP4ROKs6bCttOkIYV35THSvjuBgxf9MHlikYA+x8rLerzHAMEAATIuvJFJCKw5qGx8P/uWAApn+TDXM1jAq/9/ETRV7vixG2V0qseXlSYuaRO0Ilt2zcyXwal9tIcSjlK3mK/PZvJ2BkwyKyKWARFYJKeUjiSJebQt7MdPli/Jq1ev5bXmXEH8EDZjNGXt1/VWFW/ud4ABI3FRJy8hRvvhz8oZcGKBWLFM2anripfVYoRFpXYXDvdhes2JDLa4svv9yOORgBgUoULaAiXRJiX90JoK5vb/wm2jqiyUk62k86eh4y+bfiZnK2AjWYEMg5STaHLCz0FpCSwBxD3877DOzOgtd4wwiuRa3Cs+IqHhqYDHnUjndkLu5J+E+PgYpg0BbBxkooP/F8fPQY1PMXxAYJY+RrzRc1i6e4ZC5DR08VKG/6p+vcZ4QPzwlS0mluCsSbVdTTcWGWJ3c8CXz7K8Z9wO04HsBf9JSm4kDibSK2DeD+miAxENqZWMR1XKd2pD6zdDGf2CFRQSd9m/QF+ToXDXWslfQcWcRgi/NIKYrl6tARqAyT+Pu8YT7b0SicUgYUhOtcg4N1J+iO2eTE6rMXCdocy1pDzSkok6nwL1O26i2tX9J8T7WCNDqvMzDqmbak+tsTzBoKVPd6S0uaBlcc1togCOwZvgDzhocayRLz0In7+HjpHFEyqMKy/7V2XZggNfmpLUrDPUVYC1tD2AWdpoO4+JBmnq57Tk3dO3UDwI7+Xjt3G1lWTUdrcVtpEySjdPwhkIOp//qd6ffTV+XTySNFLtbU7buITTxECkqm9dCbp+PldEwTjQncvV6mJqsjOImkt0pOwgcfr4kPUbR7emNpgUHXBwfzD9pZ3XQIHZMnouy8nyM8VlB6p0zoIpE8n/JZzW0iUJQQbP8b25wVvEbwcNUApo1wwtAhdTk6sbfJSmMaqF1L+H6ouI61f3Th/0L2DUgNPyfXUVcuiPHv8ZidJ5BRsU+7jblyEuGQ6rz+X00ogLqO2hulKeoCmDSFfZTCDsQrVAAe4WW1erf07tJV4EFq5sKE/l3EWmoLmMctNfUuTjdPMZuYNDgf+eyi+wZ19JdhK541S0T8jD4fL974Z9hX0bKZa1yMSa61UnhQ3zVH3peabmE8s3fMyy3rMgSRb9G2DhRJqVAw+ItbB6Pk0oD6QmUUA1DSLl9ybaxupQ5Bf6i1SIdMSYRnIkxlZ7jOTt0Om6DE2drspvBPlOPM1m676CFSkUFp+QNOoGtyDQh/z3R8Z2Xkfg82uM/npO/Ks5PvoPBwmEfE1MTFymZTS85YfeskH357H/72drZFaiNEPbZZtqaE6mpxhQdtTuY7cLruxzLEQd5yjGdv6Iaebjo/R+aKSZlMv4UAX3rjkDu9pGAgSuxfvvZY/gPyRMz5VXD4V71DzFOJYcWQOWO66Z0YQESM3Tshnfc2zIOYVJtg+sywBG+8sDvTSjE71Sg3nWUNFrMFEHq0rYvOLWG01sHNbX0/JcouAJl8GK+DPW+TjXd/3HzVN9yjAbgm3EfRvMxU4Wba5HQn2SHiNXsBg9DF7ZI/xfIPE/0giC/kqTpEmrGE+Brcp1N0wRQ84lTa9rd65otmXX1BfNeWwgEIdo598u2iBr5gtnVXm+4QHC3+CqVSjK03CoUsJo/Ww4V3pf/N4zBORjyKjWW7tgYstt89tcVa5w/zgcioUPvIJ/ij/g08H2z09obv7653rDJtyJWKOggo/3Y1G5ElAwc1e7EfbvZGsdh3QKFXNQyLe86GECCTsXO6OL5GGVvM/fXGR8aw0pmj5TTT1TKYLcvP5azhQQrM8M2I/tHKLMCa5DgdC7P05kQMDRHc/m5cDP0vUh1SIh5aAWkKAbB8U+r82Px6lUAamo6myV6ObvTdOFcEPXvFvBCYTxzTNg0B2WQU3WK7MlOuV0bGzMTJEr8oOg8DQhZZgWxrIitf20O1ezH7XQY8aXjmoCzLjc+gOqCfjL7iuz5oxal/OoBUSH0yEKqiF7TepdzURNx0nl0mIOLkxB37upPD9OyDgH8CbAZFsOg9J2nm3Cqbo5TAdnD7+N0kFV1lRqN2KklelKd/c0GvHUMXAhHgMkJzmUT4dRlgG0RDVRrDWQsgKBRyj6NKhwGRBvfV+y3SdFVBBhzRl2eSmj1qTXpYPk2KX75DiwUZc5TwoZuuG0g4Qy3U7l13IJ4wsNOa+JJLffnZgCSp6psNYSrzD6cYrB2E5itCMPqQ6twbGZoImMM1QQUY+ACQxwXcFOmRAcdOSyWmAyjmJ7C0x47aScrBThqyaBz7jC7pXJaF0L2dL0LI+Y1g0/VBzw6/H1KHAZzvxD1UQJsSXQH8O56ub0yN/bWoHKwOPJmtpsVO5Q6C3aNHzQ0XWYOZ5inFEBCSqa/pY1xKSoXqBh8CEjJC+FzlRmtlBtDyj1uu3/Fjoie+4SBijLPHgMR+AGOPE1bZTCpWtM14e5FcdcNwBab/V+Pd3vPZiWo6rJYmENaBc7pggvgf9qGXbyzptBvJZRz2Evt+rAEcFAfT3AwTU/grnvOJBFGIusaBWVUKgha1SpUyW7HGFABNdbJqNARavoyK6h9IbfxI8aSaUGmFK52zMkoptww1n/XZj8nE8TGypK4Ii7UKBivs24nN+YdLX/gCVQ4ubrvsUOJLVi9Nme0S4iqZ2NyvQQT+IqTJ7S15yOP0jlJsB92DTElo9RYpHWXrBBicj9lMSZppek6vjN6CU2x1eN7UoU/PMIoCRvlESHVTEBEJGL4iU8grdYFsKrOX6hDvqoBgtUJlxrEPBRN3wvShX0x1Fj3JJBRIBc2zibZOPEGIuuNeDQnV6J0+IZSojm8rgaig6NZEb+LuyxeK6p/w0fLGXXJQw9igPhH/uhr3DnVP1uKQUZWvvg7c2TFWfbga9FKUKIq8cvoybbZ8ay+5glOLth5TySM9Sx/kOurCdQAIh5FEQxn8/XJx8JdSiZHRUGLXMPDyrTGs+MDlafcBs4bn/CaP1QljTMRCi3Q/JRskhxrJS1RdsvU+yowtGVGXX2E+rxgr+bNtkZk0PcRDf0ctK0Yxb+jcyQgUXOfAmEJB0F4bINYbtRpPQtVeNRUcvDJH8kUHcJ/UW3j4wAP9PDzID8hf/T1wRwqnXWaLah8SxPzkZ/Rctf6ZAagTHZTWMrgW2iCJ9EPo98KpNeZ/h/JExwWswhyZtD6O38XYyWGO6PaEGgWosqoe9Kql7C2qABmQnkpbqDHu3037NNEQMhYMPC4N0CfcZPsWfQZ89QleJDAScYXR5HyYR5pLpN6d2NlCN6Gt3hM/ULZ/jEhJRRWugeSxRwzM94AgoLSZTK7UNOvZPgFJQrlrDxqfZpB8CRpqkAfRF/pI4YxKiTkQDEjvgl2XQCKlwLh7Bd0cWH8+BHCGnhRJVBqwLTie4N7mAN437QZ6C4zu19d4GZZiPCtohFnz8WoLakU8dLt5zlaE4PHuobP+xYa4VDh+zUz2PjzgVgfniz/njw8V8vul0IA9ATIy2hPLaW92vbtHqeIVTQN6nRqIPki5fOJ93RH32TEzSBX4EFwcIfSQtmWPRgF1B5MVB33mwXxIehM/5muLeFwzm/4RybwN1zCSAIX5nLUf5yUXbYh4fI0BBTpmkc4qMjeKG6Jluk88RG5nEZf6YLuOfMt/vJVKaiUhHn1p7d7NqYxwW95qguvA22o9hXCKQe/I6z0MrEgY/BGVjwdKgNz20SvflGnjqxM9pL2LHVrSFcnbUiJM35IntyjS4jYWIgmbraeiKL3No0NAJEITgQgWxUX1Yo4sw7QlUl5bGmINDEwPb6hcCTQLGI012Yubo4r6iF0DDTi3OeNu1ObGcotN079mvL79WjbMLR0lmec1JdXgdVteIzeZv9eCxpVYAIEQjdqkuaRPRymIc3Fwa1vT2RQD1G0Qe/fHf9Uk/NpDsPhpSJyaSKqrRe2bed2J8XAbvIci/vnHIXrYLQq6fvQSAdxV3OmCprZBgNxQABimJmwVv6fKIFpYsUO5D/EBvuaKWBmVnxi2qe5igY5k7YpBVeDMh3gtPKa0wm6AMWdT1wMquYHhK5UoNngtZjw3NzflCH8t1TPcYcQs3aBYbsd2TfgCMaVgYTZLNwU0onZX1gDOKOuvORih53em25jirURA8RUpt2Cd8VWq7XD+Bos21HSa4HifGRvPgrNNbNKRh3j1E3YgralaRNlVEQTyqYAatH4R6oTcsG81ONLbw/oYs7+g5xs9DOb31pubkxkm1neYwls1SO7vaaHrAK+H8DmFrUN6j4YrxkIOXpsJfxyOn/xpXCpEmWi8RZinKW/O/6HBs31+xiLcX1QW4bMxy+sd7ByWsUSDFtlbK/FhT69QvIgCEL0PPDdWueHl5zZKryp5herJPzhze+gprTGFTTOF939FHb4zieZmfPb/T5rjnFOb2askq6N1UTOMxehUys2jJOfoCKS1IQ+YyigxxTLz7gndoVFr42ZILWngkeFHrxs1ioBANxkqV7sJRgGFWjKnMzNJE6BKXIlZ1Jiyexj05JQqMYDF0a6gpbCUEIYZwRVoWRPeIuHaxznJJaZM8hzVZqjsW98L6Xa8IuOSDeie1VLQBAVBdzKs353VRZiCLW30cu4gkAWzwcMXubT+x0eIqbFeLNNsHpV5ks7mo4/AcEPYdFyx6LzRjUPjbtTnbhLcsnSIhL5SykoEiT46oR6siXdc7xTxh7eJ4rbAuC1zGbo52uVH0cGfC35wpTQcLumqJtqfIlNHxj+QpGOUStCjlSeDNh0gEm1uso+8/PO+WXST46PBbby7Flb0f0pofybyDr4rLO9An5FLQSTaAj/FnwestmGjR5ZpC5gl1iEt4CCGZvCVHWvYXEJCtJ4g/bjIRgTlpP0uHPE66IS0NKPL0liyixXTYh3/W1FkXB4ko3ES3y9ipD6rGWjIfYoI1LIgGx0Chv3n09BtVFIs+L/LcDRXkeOiZ/1Htlo6xnEbkLGyBaFUAnNQshBqDGY5Q1N1a8bKvPeyjAUcfdCmACJA2kjH6tuATgVfOgmgZcDQYFJiKx2aHI/3zsJioO16eoLCupyA72hbRKzSGNFXiGMcuLyGU+v+1f2oWXmwe77/+xYkqyufAtPo/GZck0L38uJSxB8ErPEth9Lk3P7eIge8Y7IvVah3dwFb+R3dBHOkYMVvdrcVif0Nc+uIINISHkoMmiyV6TnL3NbIEhIJeEYYmyRtyFJHTgS7fBr4r+AkZK0eCqi8bqHZNXdhjbmPB4P5TeLERf3x/WgLPAwyvfAwaCUbB425zXZefnNrkTyyUT5ZoCUZ6h57g0+ZrTUBqdqFrKF3i0wEqbMwJvT8Ow4nagqug0K4l8TEyhvZQV5rgXo8XVAnMzpp5I9hob+F4xl+HGeW3pxmIb/cm+IsC+jqhJ+AOUymAp3qO/mYQ/3oOUqU9HA0HWU/KNSzrtlq5Wv0Os+AUUvo3ueIJjr0UhNyeX4/lHH+zwbXOuRzd7kLYlVLdS2XlhsjSYpitji8QopUsRwwGohctYacTO5267KvXaJLvcz8eyx99KuDQn1CJblM6XVgt94ghlQyhsmDEbdsQOASdmCsPI62gsz7N144ymy2l5a7tdUlIz4jJ0aAjcwsSIGmtp7EgAeOz3vvb8LlY7ErwScGREX7qmNyMccwp3s8wpgk6IOyxqE3Q891IszOXnpPcw+GkanDWrdi+Hmnn9xaVWXD4nWIkCGSz6/MiciTHlqLpyr8/DF0XZqv+MSF7kp/+qk18VGErrCtVqPFSE/YlGEA0OOHjwnBUiQylxSiUnHIcIv1n/cuvU5nT5sV4MYeBnengTZeA8ebGhmpfRvNG1Nl/vc0EP41h7XTsbKAOFLup6kd6Vye9wp3M6PgXIOaCzRc+SXJEyLckdf5UPz27/LhBXdkAcr/5V36GbCrcFTuxki31imf5HYwvCqk6pe5hmvXyPDaC0vUPrSwfwOS0go7i8c1vQYmbpU62aoWh/k2Mx1TwsIg2YpmEHG815Y7C0/Cs9CQsqfFpAuOqb7UCptIR57l/hlZ0FPz9jTEZWRKCL0T+DL/uCMcMknQnw+/HRRc5zobYTv94J/qu/Mx3HuaKt89lZhg0qOcA7og3OTPNvdW59iLV0HSFhcztuJiCje8VdKwCiv440gYqOaNY9gQDPBgBA9Yxt6o4rgTwYZ8wwVddrLFQKDA/Yj8rPWNtB0FuWsJLiiwGNL/uFq18Hbzv/DnpWD865CDx3qxmxGz7bVaMI11SAwjuS+3khGLqCgHoub+AdRDrzNWdZKg2f3unX3caTN3ZUs+ORuK8A2W5lEjzrR6vgtxXpHRwPNpr6J5gC8WFWiPCU8zNQxu/rvKusFtkr2VIhAfHoihidBDdP1ZTygIJp8bflxLgdQpGvFh/J4eOz4WjHLXkR1vMMJ+yPVK2UM7lcMfI35DFgGBiDijP66NO7M+AWg0UnIKrQfbmuCvNOkWDXxR17NODcnW2aUrIKSZ6al3h/P1pqa1CjXcmfy2ycQjHbeL04VHDqLDSFZajBPK1v6+tjS2UtLyzdBEcG0xuluRrkFzT5uerB++7j7sUi6Kcf4fNuTZUmFMzaobICrPPdmoXSN3gvz6oObmu6SSssnqHDImv3R69tyBWuGCOk2fvRoBd2ZpcOpoBLxDytiqJ2PAnp5IO8uWcCpMex9Q+EQrYdNPkCz+TqOPuj447zZZwBzfthAf6ffKIIooPEtkBXOX2tJt9ONZpg8SawBxEx40pgXLEuvGRHKXKE+QzX0XHASH6BUY54z9nGSw+NaBlD74beK5xbEeTpso6gwODxmb+ILb6u+s0/YtF4Ckwhz14SSw3Rrcpu7kMLjb8WGp42TzwgJdqqKcBS9oN2bavFusyA2+PkbLIYv1gvpeVqMxXW3QLimRsD+iniIU0+9c1yAAx7koadDp5q/k8I8Ym0gEccsbmbqAxRBTVxehTq6E00VyIR0VcMGftvvQz5v0HGkIf2bBB+7Emjk712XCIGFF98W4FR40RRP6huhPdQupFnBPZu9Ghq4YxyG9bkE3Pd4yohje+IHorktFT6LIkP1OwDxE/b72q80rLAuXi538LEQM7q9UDOvVgWoBvsTVCXrR6Thfjv1mEotbpvAt1KEwbUZNRDhJGOUlgmDPHDTe0suDVziQlh24E+YWg+Hq3kcGaOVkTzh9rRnAFIa/82LBbmzTv2VDSjPJvCy9ZZ875A+wjAP20Z+IvX2TnRiWEeoCgBA1uWYzEX5aeABa1F5zVARRfO8ybidRVFK4/xDJfIcU3AcXKAIwp9cNq/z9ZP4rkw0T5+2f3OFPLGa22B6cT+sUVnWVpHSYlrhjic2f0XEyiAc5NVflC0i8WEaJNYs7tDW0r04UrsDMlEG9uqk8EyDoq3LyH8fAH8acVNYNLn02ujcpRHmqX56FG6DIIWcwwCkxy6hKTnABE1HCfwzUertndnRSpx+zxpwYESZjY5usAAt3GdIZLVA6kekYRgRixPU76Gf4F+npgjJlVj0twAfNcFftlLlmlBikaksEfXWZlXFOT+xZ0RIp3siEyU5Qk448v54OfLTRTrRzLnYGcOB4ZKSyu58I+J7ZH91QxWYTl/6Vv6mWJj/bEr9EzmZ3rEZ9gn1noAfFKvobfmLsqbR8+zOnUJtpsN/7QxPNHPn8Qn/ktVUFDZ8kMmD6Nqh0Wb/NC+/OofHMzRvoYU/YGKhk+ITK7x+qI5iQmrVeXlpBrOnB08Am7OGBga9S2nSAmhOP+IRRPBmTNIMXKfFRDv86+IuaUAAuSaeQaP5k+cNrYOzINTf7q1PLsKQO9PPkcBQhAyGPQpPhCOTGe+JRK76nHzA7716fp+LsgxilI+wEZ4VJUHr1Y9Yy9GsKyOVZnzf0XUk8fwmj0W+kdBXQbGV49Q+yQ2ipfZrfUAJQVSPYO+Q/9PgL+rO6WDD5nbjd46/CS9Nyiwl6egA0PtuxewzOLrY44Pt+Q9uYqAsaNhS6woXATb4CesY+BB4Di9wbsykla3qiRRpARenNsnZTa9HesxECXdljghHm9fbWNnblxCBsZdyBRdRmO+Njglhm076MQEL55xy16GvhSnUuZjo+ira8mAiWenst0YEPP58JbzRA0r4IMIIVAbPO1Jl3kzGbIwAjNKjrdHjXipy8w5UsJnqnPzcXw48R8RPvLkOi34pZEV9GD9Dqr91/j5Kyp8ZGOVtnucFBw93998kMWlmjJCd72q+dgE13NqRXOJ0GD8pieE/cgi9nbKp8u7S0s6TYO3zDc+jue/to1hwvk3lAgEjS5pdwP9WL1cl0yJLdxwP0c18b98u0YXjnwr/she7RwEJjP9jTzgGehC8bKBwGozsq/QEJInEiWN7vWyWTicuNdsgZsJief/dho778svGE0x3/z/xUCMeqFLwhejhivETtdgUpgN+mb3rF+z02zpD3WDpxAsXFh0EV3NRn+q6012PBumde1Q6hzOseTrzjTJZRhU8IX6YGpxowwqjsZlHKpl7ZJJRCP8vM9xExCCtucXEqV08rV54b8vKzhd7vkZK85qNNxH2nWbggd/My93+JBUs5MGjb2mPV8sFvPQpdx0lKg58v5FuHkyCoUz/kAtfLtx/1rNjrkY8kG9YpcrOJHkSNlDXCSPJSlScffKe+CkAGHDBK7CKcpUb6gZYFMsBKKmg9+KEceYFB7Jsg948mzc1NDm0FHAYgvbRvdPKejtHGjSqjJWWTGlPmbivbnXSXcTh+rr9Lv9SoCPUpAR1Wfng2DLH6HMM8dgLnbNiXnmpByD2jlUTT9K2mbRVCec1F7R7PamK5CrujvZOszU3RWL7tCBV7lAjOTR4E6vv/iWRCVJCYOHYkv2RqAQus5rQWmbsBqxYNM39+iN4V1I6Y3spnWm0hZjjvAOPwTyXpvMNWzRWQeCmhXuTbAUMLB8yY/NsH1BkPaKf+M39HRrdZDoslNBwHrQMeRd+mEk6mWb1vkesaELuEUF7mgTp249NhS267RPOIixb5bU4qTxqkVgHvKurNOf5EfLWPWVJ7Hxu0Xm43kXXANAJFbxnzP8kof1hhCj9qlEb7iDCGxINsfIf7IMEZ/4AgrXsUQ0SsI+RGoWrzxWS31dlJgiYd2QwGZBwhANs0Yh5wErPEJGeRqLnr/6uliVlVu7yaHPAe8En1U9AaImgfcsvnMFa04bXGSs+L5RR228I0q7vrosbgM9kuQDs6q4ahqYlpCerqtw70/c9DTALpQtBrsdukQ7tGNoW86/AJZ99jDQm+93QuFUv4VZXRe5d2nHVw2Hzg6RbDphpmXfA29jNRFlNzNgHWSPvrd48FTaxdGF3QBYFMxv6g9+gWvaS4iZM/xTsmtNcCmfaGHflV23qMupvPg3Ica+W/eGa5S1L9RK5PvpvLZayEBZNMZiehSQHXqiHaJA0hIyzn1+Ow5FCCB9GZJ7jP8Vj1Rvr6imESxhFmzIn9MF0IsW/R30He5r5L6l1ZhJC9g+oCaFBH+79+lri/WNWbG3VZ3bIVeIR0PMn5S1J7MT9xWp3+dsrPuf/upRbOLMGgsXlp0idA8CzMhj0a9+5pOCdtfjIwDzo7g4whwnB16uBNN3MHD0k+PQigwPALBPeU0wA9oCWFD9FUirKUvYfEQS+zMpJkd8Z0wvK/WE6YhF5h04fmufnxXSrvoKGVxE88auNFlyG+ND27hfP2GaXHn7Wz6inosEcTjrE2KKhr+kBFZ0/Dfm7G8+TLuxRZq9ddtrGZiBFK1+UyJprt+obltgDwoiVXdu88Ji5QR9Man7r8RRf8MGRaNrawHqZTujPB8PpTePi2yzvyAltTaKjGaFjVwyl+XAxabCiRwGXuKS3vZI0ThkdrdHh4FY+kds+8WXgbLh1b+wfx27sduiLZx+LL9IBoYIZpYl9wkk9aWhTSrR7Ewjac+bdSaIq7LeOGh4iZZ/irpceVv87fbek4nTvQqaA2LTQw7WO43eao+XqwTTlU+JB6KNRKdvidvAWd3uVDOgD2t/rv2twkkEqg3EDRIjPN3xtCgRXs2hbfq3rczQuomUiqVKWwZuVzDVrQJ4pJgx6l7CZhBf1PmuXvTqAu0Syszlm8Qxe0f3t5j5SLClCSMkeps2uLwGwIlbq5MWSSYHtfTS6wB8E+CzkTxkL/7kPaYXMao/WnUAGIfqymbcgWDtAcmjl9EjIdADOsR0l9Esi0xbu2uTrhERsVEZRqMsheIyX8sz9abPPmySjFjMCRp1LxXoBwOgTUYjXIXSklBBOi19UEsflm1qeTJufedYQ77n0YX9p/gWyUiyyPFKN4byGvcZLzYi0MXB5bUIosbS3zZod54Ykk4FiKaWquVC0Iet3ZsmSaK8DnxsJm54IKWmIbgaBjX5Pt81JGj1Sh4o4mGV3N0wZrpxuDEI6zuts9J1k1eDDXiZXejVpDKgQkkWRitvtlGHac5i5hCk5MEpWbfakC1hVvv5O09u/hmBXLCoCwyCgQgi3UtM+fkQi1FD4g7EV9B9OY83w1LJJUhIeiLPzyJq8LtTW6+onJps1daa5TUvmwCqErlToU2+woI3Glo6KSxsNUVjvGPSkCsanHMda0QyAk8wcruqbQRWE3BJliQgemyxXPY1qIKXjyDnR81s+weKD96TuV/hCI2jbNqZYgE7SnKga7lVB1JGM3kqkbqx5p1HKsEgA83o+nBOjKzakIuV88Zkmo7Epv69JYDULZXD+VFRBvyhmVQDqZeZIHc6e96d7ZUaZBf0ydqCcPyFSNoHERF/saRVo6FWajEt5DgF97riN1hXmXEYvwOxtKpHscoTcQujCPEhRkpMwz4gXYxVQqWfn+vTv+wg6CPsNGrpODHeH3yPlu4pvPzWuU3oFKbNJ9vIiY1V+DoCmt3XUMR8bshfS0kxOnTv2wmB8LhYsS2Bl2ilE1rP1gJCuoeerVLqjfvBaaxd6AyoIOxy4V2OXwjwB3gq2bXT5SMP7PMCJOBKuWOh/adewf+meKKh59vYctPkGwJmM0fF8P2745RLytOi3NXsX1GhqE3GN+/kkvIOG0OxXVDtL0s4kx/tvGyPhSHDXDBj62MNjuRbO+qhNUJENVbax7b/3dRNcdKEqJ2qbjBo2sT3jilKoRrBUWmFsLd1KTFMZYWDPGJF7wC0D35XF8K+A3BoOsQWGuu1CvB0LDPpDdkJ30SxxaLHtfEnGLrpsdMbJYV4DE8CveHZdGvBVXBtSs3nIWsv2HtmDA5oyv/6o8m4+ryuQq9WRpRtZNEqk2WB/HSVtjpQnPxQJsF+ckWkYBHMvQcwdVKoGo1fBlXMlVQlvGAogmRVHXI2maBdZ6f2xBTs8rMJng2A5AE4Cv/xjhAwVYk0t3V3u/BYExiks69iPTXJ5oQjc2IEqbFJPH9daZCmssegjOlcEL7LE/HUNMzuDLg8pGpLp0SOlFlB3po7JeGzCjXRTc9KnA9hB/y3md4klE2izrTZX+Yz3rkFioE44BYDotN6l2AkGzd/mJMDpjDne9t7XCkSWB5gcn+A1wOa2lrvmFqub/7+vMtyHoE+kRS97dOMUVpLoURIFjYYjvVt0/K7NXuf/H6HTnuwD0ajDCbhyoJoBSGsnpUEEHJUwi2JzZ6I0nYy+pi584b7iuUITK6ASg6k8GgayQ+7KcJWye/symNjJOgO91jpUPQtBYhbo56+4EsljJzdCwCVLLADTl7KfLdR6iGYVZSlHN+pMBsAGjV4A61JWg9KFr8Uj4txLRJZlk+As0CfbQyD3GT0MKoP5UHcih8MwoQBh4Tx6IrSfildPNRd0Fuaildd8hlV/0QPc412sTrZqhe7BJv1689klKZ79tylc2aAEr6xaXTbRZt8vhHTlaIPd5hdSd+bXoqomYUccnEa1tcdzecBIe0+tGfuNm5D4s+QEuOHm0iiYMyH4IClJ6A+xDWl7LjxSmd4sYzLTh7v/HDoPx6dLf8OZSxr/g7sfqqkP4ukixq2DQhirm6IflzMhQ1Hbcg7XUD8bgMchN0xvqh3awKV2nd63mUs/0B4dKsd1UQbRDEs4iFgZ6JZ4mtJITwqoJ9RYVPf/Jok+uVT+CNQ43+OuTi2X5rOlvJONaIK/kGYaDBvkkKEMHvi1318mmmkhuN6ZYZNY8sUsdBN4vHqQmxsQdyB9Hj9+nW+nClhUAVe00+u1GYVwAq45WU6/Sqdpz7k14+icZiG7jwKdNyYN1rI1dDMqBgbKVAPjBuyUzqn+0bgiS1IWg409q8qaLyqbR3CBGNJJLJXZRpJZZHX3bit++3K/xlYUFm1jIhBu5LO6UX3CTctzRnIAvIIWS/cHKOs8oGj55rm99vFpMd0DjAZT6B3Qm6gGv7BoalUxKlkdpGi0mHQWkfkkNBK0cIRTRkcVAX9hNSviXpvjzFYBwpFo8qd/SY+P0wINrqF86pCK6Yjn1Pw1AjJ/s6zLgx/9frwM84GbttRMUv1HmAkM17fce2eAZmykeFvEM49NyzD2A3pZTgbAx3f6Foy1tPop09jzGBDfaA+u/pUXQUuzbpSQ+orObbZZcX/9+aVnSpBwTTGD7WLcK3eupRhivHOFuUKN4ihAbJ5ePlmAplE13rkmJhwizZYLWc0B56iXEyAtFAw3Mszod6+ELPY+ac3NHqIMAut4im/AsWiuatNAVePB5hyK/JSkePLuFxJ+IIIY1pv9z008M/ZB38Av8Gl8tdIpqzoajtE6e2za4m4rvlzZqk19lgwm3rqfvOiH6HF99Tc7Zr6xKWJgxCMyjCwVSDUgqF+5PnycbKJ927pjVFL+JDQK2J2YfR/oAR2Q8tAv+irVtRdmXR5X8ystB6U0Jrf1mjgHnG0QWEPGfgg2Oz3MMEcu6MiqvPndwi6tuYyf96v645AnVlgk9gVCNFQRHzLSR0GqiR7haXHgev4TchCCkU1xoy8CphiumQkrlBbydV8NYUKe7yybCMSMNd8gO9DmS4r4krKps+WUqEjD3R2Enr7zVP7jg4Lc7dGXraK0cEABXsSR6PcbCM45YsvdiVTav/npr8niVkP918nB2y+yKxfD9ycbMeEv932dxQdAGX1oNM/HiShZHWWBcBS8QkmmxtRjiSRtn79SXfn/zuaOytJ0m5CkSRAaBh6tJzWg+k/OThQxJ546xcZpC2uyHTKeRqY50egv0jdCnkk+qjF5Dsmw9m7Hg20H/lCKP/wYL+827SJqF+lhh083yipaIlJdj7+/HyXUbbHFThA4d+kyUt2H2/OeN0VpQB9BIvS3dWsmYdhjS9tD0YdN4rpMVyJaUEumUAyyaCLN1M9TsY6Q10nh/9YRfLd9oIVIleT5R9ToD3DwEXS8tvnkC2WjgSrg/cJ4rq6SvOebuu8pipKBP6QcrWbEb/aBDQo3MfymzAido6um0G7X7nTVB7E97O3USN5I+FiWiPFLWDBMRmR6TK+5ldEYFX2kae7qgEUycMYajVZPE2hJfJpijLxnQKB/KrNIYiZJUGgUN15av1Ml0TOIKNSZuC99q6BX0XRHHXtTDZCOsaDS2zJDjSuv3JLqS0w6yxIhKbNcRNCO+lSyfnaGvx49cPGQzPHXrERHTD65Rmi0xWBGFm8u+sOTfXoQDgiBl0xb2Wd62aeLJ/CDrYZ3Y9MpTuUHtBip6HpyBMO4B+UqYhjCEhRNnfR0WROyAtY37VY2/uiPMVgkhQvJCqO87d28nKdBp1K0pMMebQV362NX6iOAT/rLt1z0yBQoUjnzaemmQybbl6z0JZ8KsnXCI3xnIJo3MCZsLP1v7ukHkV4JY5yKL7IxWa4sOSpE65DJO47gCbJe7RRi+G2YYSQDs4nf5hqiI0QOECYuxcSLUnM4JBTTFSrOmVg4Z4xcqotGYH8tSj6M8X+gJQw4N8v1Fr+M9Kie8+yobeAfwbxjcPG6IVvLYbrGQrKvpv5HTUutnUflnydRb8yXdnP+JjwIz6v9yj7SsUOltwI7itoSGPZ681nOrQ7oy6eb2Q540qLwO5I1L5nCybxykOdV/W0YHo2WeZXlcvaXAapUzwFBW7CaiQcXJL0sszJvkTB3EucTs36andv3s/tSYRvHojNwbtfJk3AE+3wku8VUEscnc9l51lBvRGU7kSY0PQQwd6+E5up+eW+WwOpL5BvqVe8ueBnSNw9IPD4Ox1j7QafbD77V+eDrQs2KlI3jv0MO6vVbbuPaCWjbGJEpuO8a7IofWUewGp7O+m61pYyuMbB6QAzcOluni3nWxagHdMYvdMKPBPEFgDzcm7bYOrX4VsBcttTMFHJJ5MrAOZuzWY0ls7luEV2KZ29Pj7M5xbNgg7h02MLMQqmcEquXLr0NABpeNlGwAQimhCNuCflX3Jze4LH3YKEVZVaW+dFGrQR1CmzKrcf6SGOtAaJd2Kq3DuASq6so9c78Vg5YvNppSdiYdKou3KPgYC8I0fIQBLVsH1tjfUuXfLx/kcOXhsDIAD0/sg4YltRQoU0JEwF3WQ9d8j5XtOoLI/zxJhozy3OfMre6XhGAqDJIRI3kopwzC93RhSyLsnN0HwMpClynHbKbqeGxiioG+dJjwj6m1sji7sMsmRb1s+nhXNzzdXE6CrvBx5C7ykGAf5BytdnRCTWCcSDWRstFbQbtuu7jzcwvB9LDTYktF7hqFaXIrOn4PZ8LrZMKNAkgRDjXL2NZ2kWWtfj4sX1zNJBehthb4y54ZdC0rsAMZr1Xnhj9auXTvHNtylBI9JenvRH/PIapIZ0VCIoaqRSVHcby8OK6yuZH6MR4mvWpDU6reNTmTwVxJGYqqkI9vYJJwdzHc/gHeUQZT8+MZjirrNYB/qn+r5Er/5/nHt+9b+wrE/kiuqzATlLdMrypokiFYi9nIUhOU1U99yzXCt6qRcjL7b0NhJ1TIqSiLrWEr366d+jty6uJVxpK9msjGaBJZhlmF0BOoD0OMsQaBn1felIGHu6EtrNkPA2u9eiGOeIUxv3kHLZ7ji0+CUcUlF7vXUr/U4xHOG+O9ySgfZj6MmjwXzJ4XDWWIRCyvlOxa1NtNMgCkwTUseY17m2Ia1dQfdls9UMRFV4+1r29uVq/hqlrmuc8SaNw47nl4qQe8AMrUPOgnC66SK4PFflfhcQ2MA9I3gWZuxoglUo6pzZd88hwDLPUOHbxQanRCI1GWDwAgK4SsA0hWSneU3hXPM8nmNS3akAT22TpIUWSuuFOrOSdVr9afnwIDLRggPviMtoad59rBynWGhn03y3o+WjLMAZMLepfQMqR+BEkV+T8Bqtu/l5YrM4dXWdbTqMinerbdC5o6e7oBEs72IAU3UXt5QazjsyC71w+iJxXnQZXlw+dyhZ5gX0AEt795VltFdmlGM/CO2zBhxWnATLWqnJcjl99ofoBvx02pIpvERY3tR7KvlIKrQMhbRtM0akxSxt7Td10lanLCT7HYrxXns+HtrVcrKK9nSZMVyflaR5Yv3MmNbp8uFKmWp27amqDoR1p+xvnGHSubpyuWll8ZRD6Aw0tzqchXCIB1m/mvFvJ8KbTZMA6NXTSgxYfMEmWBEryUvPoAUf4M5FImUTk/X4O3mA9b3tn5mv180y+wDgLCq25nMVNade7YhKyLNQP14kZyhZ1+2eIiw0CxV7oyodw2IdnoxKxAzyPxXSvaYN8CuTlVNTdHn3LTP6087awh1hESi1aawU1msBzuv5L6ddjLJ17AYiGclg3A5vBFkEyz6hX6M6Wdx6rxiJhOfxcwQ8qaQHVxTogZGAOnL3lg1qhZ2NqEywTMWx6U/hwBe6BoPMEJvqgUQo6lUaXs5ELSjkv1vXVS1YZAt+q5OUasD91+QsPbGzqE6kDm2sbkckcGDN/lmnQxTXVvhQlnGIixRCnO8A76+zwlzrP9QhiqpQnZnbVcIpxx8WGVYoBmzAl+ls5Ee749x36lb5Mry70wu4xfE1ONowMq7wYhPnXi2s3GzXw33Rh5afyMint2x+CH29Gtyay+Qs24asRo3zB3mLuPViCGo7iyuQEkbQqhhsztdoMVQX2R0NRycz/1eHdhQM89ru+mo99bEQ35vrHWD7fR8s8ePMCgZsMD1+AKcbBPTd7ZK08FYB7FlYSqcO8NoxPlcPp68+J0tD5/Oc3laEHu1cj/xOYlojhPhW1IJ63E2m2Zj2NVHYMsuukwZmMZqhrRjanTsO4ALk25B5dAlyiVxuXahohCVpldiUYxIm6sumPn6xVkn5D2kPgq9GaEzGdbQn3LS03+OBd/gcEc5o/q9CF52KSEI1ZNP+fjeY0zngv6O0d4GSUOY9Arx8DSSsWabwhyWYEa4vx5c38/aNsWbOkztoxe65EdCGjTFYZCVVVy7u4L99Q/c9TQyngoIU7NolqBm+7z23q7rMgpbVzrrcyKENFw9WTtixqS+VhzkmeT4ZuHQhvk3yLOmmR7ukuEZhC1pxFMIu09hXMwbIgqlXQ/C71z4Eo0nxeDoxrSAUTYRU7Schxl2NN4YqkRrMgpSHtEXSIA3dZXuKEn/97pwZ9ArzjKjlzx+zHda/8/0MNUY8hh+HR0VsDYZOjJmrQ41fuH9445O95W9nRyq7h8fC6BktWxrgfTmVUSH2G9OPehTRPdtfT+mKdZM8vG3MSp+GjDtN3shzms9ezdflioZm95fIGrFIXoQvyr+aSFIKrzoLmASiuo9uHVLAp0zEofU7uJxcSzQhfV+KhsQ/HprEta8Oh4fjm7ddvvJKyEvbSlZZPzpF9LdBKG5Kty0RW+HzL5zq0tV7jj8LKuwygdQfB/7kVuAUtS3AXDgaT9d5HRZfj33r6J3X+UiNEIhJKleQHfirAGpQltbL7cFeg541y/NrzQ6RMNvI5UbGwPa16Xr2on1K1GQYOLciGQ6w5bhn7JBaq0Ly9a9qzT/r9IlRYgJD7BovD12w3UMxfq6VP5am7HIC6FOMJtroC3zDxveHT1R5MitjD54X45sZSHWv+oyXvw/ylcuzKBESVdLXBev381oVWHmtjrTvy+cEMDg++YbRjgYm9aB/VUkxXjyUqheWjHKdg6qEohUC3meK3x+BQoIY59scyKEFWTvlCrsTRdoG/Dh9LzIWRuer7A3SyXzRtpGw7HS/fvscevyHcqPw0RIko45N5aZnE7D6e2hs3Mq41iaaofIsNJ+uiVk0UAIXviZtPkQ+QHlOjmE1sB0zvWD5yuo+nwWDm0lcl9xjN0v/rl9AJiSOgKaZErDtgpZQ6kkCpoLjZ4SQ3ybECFGQQechl+4gIgF8gqM6KJ3HisiujE4Qkh6nl+y8vO39ho6K+vgg3jqk09JwZEHeIcCrtRBq9xhh3y/Zh9UQdg/P4qAxNR+B9CVt7m1SdV+wSS4f+/YiTU/MOD95xt+5RqZx36ZiumHywdSEtQ871JLEAvZMFXoIW3Xo0/qbeB0h1RaUSGJlJ2CKNA+85gwx4x8D9OKyuZ5WNjK8LuGRYRRU6JiL1N7tMynY/ygx9dmJ9AQGb8Piz3sKV98my19N5xOC1d9380EcJkKjGv8jrovp1VDhyE/EWskw7SSFNwzEdN/Ju4rs5pdEDaOe59KYGgydBXJcIdEYssH3ILI+zK9rKFUK3d74nmtEW8g/nnk3fJQv3zHDjozBUpR+gEWDggUqQ7Hs8rLAygcPtPp1+K5o91uvxGiIQUg9Sovg+IGCW/CQisUuygreZyCjWx7D0ALfhVQWLnnw+lClEKZGc8yW8s1kyJWxuJUHUKc7gfP2JZ6URjC9fTyPt74YT0FJwYyTfLUTyFU/MxPSQT1vmO0PdXM6UFmwNd+VRS8OxF9PIgbGfUApd1+7J3cq8Ip/D5CveJprJuL/70QTvaSWuV4TQ4j8f9a1pD//1H/hjRm2aLhHESsMhPTVOTwW0UC8wO534+XSAsdvDKTkJKIHxFOKKFlf0TNnuhOS2e2IKMOQNpERYBIpWK4TCziBSaI0/H2HOJIEOtPAcrimdaRddlD80iY7ci8P2UtpxDYrX4HhZBA5CFCGzBVEyyNqwRUVGsON/Bi5HjkGajZCSf+WH9W0k9ih89ilmukgi2PUPNE3zSPXNG0oXz2zZ97JDTHG11iJJVzL9w5OoLdpEBJ2vJ82WSkjKfCL4qbJE7X6IFPGdEst1eyMl9Z1DAl9dTJMrOqLFNTLMD5LWp9JM+1QD5y1ioLoGFJGAQzOqLSK9Z16UgV0iTwvb1udTOJDzg6Qrvn8PNhe+JYXYtBDQheH/sW6sUXlaaWweWrKqli/sV6DxSYs3bPcpkPM+d7z8BAGuWHDs/u7lDN81Qb1S9+V61mtrkzfDYboWeL9V1y+LiCRZ45FOLc1Nl3lNM368WRNTaIRS5llQL+4KbK56+mzbeyfS5aPfbWZfLJC5VykBbEJdiVhuDEIbdNDzjvYXrCdyHotwh3JM5x5b7h0TQ7QpcKRpJ8CATnQPuaCBDkUCRLomqJge8PEbFcSAuyzEae7nbDBQMtkemyr81VaVxkoggXrTbwqj4eeOBV9Ojmq3nbSSOfOLuboSezripNETwMeHrHQEC9lrkfXbbNb1UVy0DdPTVg8wMW+5Vm8TVz5j0c5R05x2rO/dCVduJ0qHWIllkJB5Q+tSWC/74BNoqxzrTAzlszvWz7O08BFD3Fg43CSXKrCv07EDXAlE0xZESeQ=="/>
  <p:tag name="MEKKOXMLTAGS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XML1" val="4HooU0THZk28POP9trq+pbTvvzd/gcV8t56cq85kb3NDTsUhojRA0EsgEHHMH7oYP1SYpn09ysXVivguJdhTvfyVMsBLTGvcX7WPTor/CmV2Cco1R//8tgM6IewbKFfrd3FM8Dan4U82Yl3R6VzVj6EK1gZkGpAdGhe70YSNppYWvDqGlafz701LR5G0NKOTY5TZdXczYknlVKjTdr+kjWnWpdSfMh/WDhwR5xVSw7HaoqtJUXdU4gf69oRsaoyrh9xKoPsZsAZJodRV1SE52Su/CiyhqFMx/yJ/X0CuSrLuFPxufTlPwbX6wLYbQ5QHMtLZ/loCLKZ5Qnp5iE482+QSfYhZRIz7Yj/WKeApARGnqRz4oWaYQTWSwVJIVDwIqXq8/2ycrWk/bHuIT/0Qdx9VyZA0g174dO/Hw9F5tEWYiA7pinkZRXadkv8Un1U7/O6BSm5Ix4YC10/gSEmSsM66ZrejC5AkejwJDzl9jbYND1joy7DtCPRh86HYnXPedsLh5jzbPcQ6/JOKYFPQmI/AG0GVhlGmnIgPmXpSitqYz8Dows4WSKZYsfJxFtEpWEhXYSHaFxuQ4TXTd8G6YGpDtqVcQ+3qhPUXivjmKqrma7aaAyfz+9HcKwwyiz1wBwR6v19V8gEney0r2maFYbdvX4dMi8oc7CpRdq5iWVaLVmvxhwNpLUpQrWITBW4KPp93EqPcOsLABCN8aHtp4QkkA+YhyM4z5OSFdxffO8MBz4fTyPcDRJzrhslwdRXsfSSjtXe5O7zCK64hmR4zonQo5k9fY3Yl+Yy95hynO10GctWaTn5hX/mY8pAWeI8Wo6OxWDFeEpGoQfhA07TTC/xrCy+iF2yr7JKhYh8yorRwmTtCe4obvGdNBFh+HVNJsGqFXpavFSIvYqzHqmmSX2saY9yqy9ks5M/oAu6AsqQLeZ0lFsjimBuC31U7I4yRquBflugd4VKbt38efyGv5yrVvhhNOZrz2eF+jCXLOqDutLYAMXbJs9Wz6+Nlw3TEdgOrJqAuCG0cJgefUbcUg6G5C41DYRXp2/eZQdZX2+Q/Bs/jWuQJ9vh68LCo04ROI3T3BnNukvlo9nbcf91L5nYzVtwRyLEAxjCp5XBr5uA6b/JC3pYumRk8mZflShH2BlFa6aL6SkWL8fasLEX7NOtclyKu20hbc5x4ee0tGmvTmDW4QRqlVxD9C74jDKxmSVyjauDcg3oXh8U7KVvzDaO/ZJzYO8vu1i1llJM7eVrxCVeoB5iB/BfGxIS7G0SKPomw1VQDoTHW/4NMRwKnLq8mxAI3UHSPutNeJJN5ojQOfxl9yUcnLznnz+5K5joTLPg/Tyrwz9fwFgOGCyLZYxICUDPXrMhpDzCHk6XfQrr0FwC27it9x02pLjxB5P9n9vh6wiPB6GKxT1ZdWIKpA68wbj3urGkPjrdud00O5OEWcVM4NnWcfNpQ9THcl/7hip2LcIfgQL1b2/jHEYTlcBiY8O+OrAMuNeT8rJvThfi6hCzZMNP0jQwBEYH4ug3VLcIoXZ8PNOlHT9zoPqL425X3Ab74MomlX96I+29T0rNzD3uhqCn6uBBkYxBFXfXseEWDD9GnWwboBol5MCrHCtxjzdxhQjAmqyupjfvqYkVTXtyT92DwqGnadMHTpCHvZCvIDKei6M58vPoSjdlWkwBlT6T1lyuiak7IqAGNM3f1LNKCCJgLn4mmpm2CceL9Op7/IKZnj5ql8qHV8QxTK7FuPlaAXCCXhNAu/B/N6dL4Hj1cFvk7L4I0izdGHrOoz6dAuN+ZsCkQXliGUHr3rAM1V2W90JWeSo0WWXO/kDeuhkr8PkgG0DByMuDTHYNSLvDcKumuT53nTmUjV6VDUaAR6ewztJTqXpr4m486G8k1rbSyJVJNa/LJ2D9aDG0mVRrPnGroF1VrYeXr47fsPM/gtjgQ0fJQmuXOSwf3DtyEM2s8M5cLJtyYHztLbm07PXHCR9HW5Bl1xbeX0cEDKdpq14lModdtI7EEURlfStli9u4UnnwQ7MSYwkb67dzQZYgidniVgZBpM+D5VaEvU3HsirKQS+RSjMCqcPQc7uHlJZMMZe5RbIA0jCSL/go68DS7WmIPMr2p/zAmLQmcSVSyCyqc6XRdnd+cbGwOw2FR5qNb9Htk8xk7WdhhhPezaEyhB9xrZfiYS7tBhtyFYbFAlRXeTRfnOArmfoqriayM1zRcvHTCkk/lsVfSwiQiE9+9N/O1FJo5KGnBHCKzi8T2rEFsWUTOzX0/5f4EoRTRkbNjpa48Y3AjxXA2Y7ZT3Ye0mr2YzGDYaxIqiHOU59appGAUzt7XElV6ghnH2xHZSOEF8kONE7aLdMYy8iSQHuaubUa2DPsEdhEF1DQZKY1XHzwaNInJbHTK+Smfn/ezy2A1GGqmo1R3wbDJAJFMJaha9LZNFz0WQJEtpFAlLNdtb6CoRpN4c6xXYRQV1mpnCElQpbqYZiOajf+Ua17vdRkqeZ3SYHbmpnnKJu6AA22nASSB4rmasN4tr4c1ZWw2A19X7Kjk8lZubSgjHTrr5T3vOS1er+SUpJG4N/tOgYLr9imwHUbsZ+Q0ShbAMwnRMRYvAGiC317AdhoZgrgu+bXQGygF1x6JEhN1kibmQIB40DTu5Ob1+OqCqNibKQ4TA5rw1+mlc5h7OwxZ2u+MAeOdTZKUfAfxVj+6DeC+On9LROUj2n/Iy5vrTDyIuAgoNtILyPRtCHMPNWI5ImBeQ1XHfmBYr9rXPdEARbuF/rVFCnHlpej/WjQThC4mSvMr6uBf9VrEQFvUnwCdrJ1MCVUotSZGY4xAMUlXFhaifhPiVdP4LhOqewHX0QSaUkuCzr1lcSvvT7Xd3CjSWUPPVmFPa1BoDdWZC77nSR9m+JE+qirvNdxbBfpcweAlQE2tmbox6onj6fyCb0Q3WnKfcO5UoSp0mq0qpLXMYSTKggzu1d7P9IsVAdL4XfLIFo6KkkvLIxxsEWnfrWYNgHtpfteKwddzNKAJyNOfAj8ePQfzLYga5E6tFwdKt0Js3/HDeIUchHL2cxCZwrojHfjomVHcsyGrBWFRlYBaeIJIiSZ+q1hyZg95DUSFhGTMdbELQ5rthVwo2ymuxoC8Kytss56/r/oElQws71Kvq5Bj+AZQfll6+L8+aqLY2BAJA934IdT313DBbtzhY+BBqdlKw/fHmDoBDQu8espgdLjmx8lIWZNLkqscOZCekJMxCaA0SHx3EtJfGiyXFbY2fikW09mV5LBxLgG8wjsIZ95tVoUVMdR2mK7Dd2L3OiQo3VGr/JbGIP4ucltp56c6PS4SQ/ReRtwaQmB/ZGF9/l8oFH2HFfugolpCkFrMbIeNYXTJkSbIozPFjW5CXeWVhbCUNOF0UNX8otG9FhbKUt0B+vWGk2DOGc6CxZeGyFNVbvgso5LDIWWoTR5HukOm5pzmPVdbqNBxOyrli2c8eYze6o0C1zaDjq/0bsUhSm6bb8PCJrwx0VCE5ZsR5EMNgfq6kaqp53FPu4mWW+7rdeJQ2L7xNhnD+M/AZ5skbBHQBednpLpzTS56wxwIT4WHjOnjDZGiuMuzTdaSrxPpndWFed3WbmdxVPT4lAz5UmhLQdGOnVrucd3dLWOhpdyIiFAwI239Ddn+YP4HYjcM0c7X4+PdclTig9RKV1kTGyUpv2EtEt79jQGLA7ssXrWujFvWt8/RFDeq+AeedNBRYl3BX1pRiYqn0fzzbqiYcyeKC65+R2QaIzlL7IZcKDwsy+pku0iQw0iamnNVu1uxbfzlPO9XuC/Hrxvxej7d4kCi+KWkTmm+LHh/wMd7mltIJIxKN3K87v0h+2mnbuosTPKFLowgkkUi7ujg7yDRh06PhDsLtdfH5GzF6mmq3zOAQyfzjZ5LFipZyD8K03x7jjgRXZnD8bl6WGcLZ4W4Dx8jC1CuV0v8u9xN+/6GKvIuJgUTFMG5bDH/eurgxeiO1utFnQFY8JG6ajJ5kHIUlFxJq/fm4ZiMwQZsIAAxbXggV56axihZlQqwF7dnxtTpobYDmNS9fJGtMGzpnONPyU+fJwCkVyn5HhMz1hRoF4nKZk9ogq0fpgjXqXYUiI3o+Jsr0qpJIUaix7HEgrTvttEGGAO0YvB2k4DPhiN2MtwWBlSSu/vzsFYdcs+BZKb52Ds+YFa9BstIg4fRAd+NfmXpIarRoUHifAeP/L+H/98Msb+KQwXGAy6L+9GXNZ3m9d0sOxFlAE1b7g+sRYzLcgg87+9XHc+7Mo0CT3l0xcIHRSNVfY31Vmbad7AGlKMDiY9K7pTXxznEBGtoSo0aNZ9imotNeY9U9iukIRPHSFRBHklZcU1f5qU2frG28k7GiNAIxUaZlsUHtrIffYezcCipkoUv4GdPlGOAaX+DszvklWl95SlXpLHYt4Ky3uqpayeumUsi850cQ83MA1guJ/F6UIWVX0Nh1QWTMU3daf114XxVF/UPBj9yc26QYZFSirO+vxP1eAhh2ezfpBuw6bIP4vjMlsZZENUn4uFEX42/NYLaArtbhjYP0jkWiCI2/LrSMXIu4dzMr/pnLSau1hF+/TR+aIW2/PSjtbiW5kCxJoNv2mvxW3kZUA82mdqQ715oZUF5JJmQ6bSNNs2SRjc7Z0g+7OpLKQZ8GDhaY38+wiBmQVrJyo+yvcjOi+bjSNEWlxyY9vsBOJtm7ibXtPHP691SBGuhMjYROMltXn8IAGC39ICwAVFIQBTMxLi26bA30oosc7NrzuDU+z1PTHjBGb7CIRfopxDe9D92bzXHJzIucfcRBPa9oWHC4ONfZeFeuo2zbbsk6pgXwiLikE77ECz3DH7jZ2JQBEPYT0ady/MUv6hLRpLQ+vmHVGegsIm6RPdbMBebQQjgejexTKdNNFWst2YjWSfiq3mjZTQLbXAsVhu2GFZVMxs4Ar77soKzQx1PcaIzJBTzgvJuj+ZG2XlAQexYIpYvDkNSrCTNFD9aL51lL24Xl4kodeCDXErWVT0Q4Zs6Qf+QMqgtwU5yl4mWilFRIIUUJuVHOMrgGLB46Jgmvk0qBuPyeg+eItGpTjQGK36Bnc5EgS6BFKZTEzEPlAIZRE1uD2869IsLpWwTKPt8+hXOSduWYlj0Leay6TAm9b6SI6C7HVFUwogjhsW6f8KSx7rmveL9E8k2gCrzr+XPQSCm5mDziu7XEKVLIyLPmZrdHeSPamKBZ8eyiSz0jb+Me9PWzTlCAbzhHq6Mkd2mQkmd15CCI6h6J0b1TWAzFewROE7TVjLsotqRxyyQ/5lY2HlX01iudCL3/+BQURMJ0TUzgrtuloI/HvtG5EgQi0TxYvQZCOn6OvZDNTCH72qkA/Rtm4CYnYuPGixQouqEpuSuCY1wwDzdK5gG2NizG4gzVL3MUmIfUwZ1eOskPAXQmvBQaEeWa9WglhFdyIkfAsmf9KCH09VdvuyVUC5PNZWe9VJ6oJIDR2Kbcydc/Bww5SlXUmKTzQfGCuw5/ji5EO0q70RIW0BxsWFwLcnZdWSqavgO5+63MptL+XW8BBSa4CTODQI10j3ayPAIPCKuh5ePK6p1wu1UWONcbcp59Wcj9cZTzTHZHyLl25FGEdY78mmC4q5PtwYbbi6xj+Bm6iDwZvUjPd0hzLvyBvic66rN1wFOxwvCRaLiJsLC3GoGpG5LVB7df/3Uju51FoKIqN7JikhRolhfHkEVGQ4AmJIlj59aKeL5XaKZndV8hT+gg0SdBgDshm9n44+QkfsVLWPSf5gVPuycsle1S87il2xtOIFPEOJ6b2jSxJpX/Q+aVZHxdyqgN7h83s2yMqNBAnzhyBUejcuJJ8bxt+R9pYi0/kMJi/Ol9Wym05lWVnHt4hmA/Cm/BgH/Ef86EAKYObUqBx40E78SWeaZG1/U/i2TsJ+1L23NZts2wX+4wavgfeU/yCv+j3XZB6UIyryg7RSwAVZnr5f9s9WMYzSZVCb1dC0ESiyvC7PwWSfi3GALCoPG4ndCKDQ8yebl8RenABl2ICsSJgthHVADmEbRRUJIS8f4isZA67PK5uQqDAw/D6xG/THx4DUUpKRB4GJSEgIRfYKRoyguljpJgfUSk8WZPA1hknjPUuiL0DkA9xVwUgeazeqqeQV5piMWCjZ/Fx98K4GpaHf3egHE4P6Qfmt4CUZsSePW0RjqqkwAplYVhXA1ETG9Y2MzkeEgv+C4cFwkECcnmR2MIK+GpvS5RUCd4H3MStuhkSUB+IiWMEHM4T/2G8fG8zufPrO9Afz1KVQGofjbBmMGLxu+ShV0bjmjGoyMlzSaCnfusgSCTfIsYSgt2orNib0G4J63p4E+CAlRE4hFp9bSTJo88p7SzvJe9xLAk0ted6cRCKrsMPBU+mz5MlBQtAmGJjrfKM8fgq9UF6prb9GKn7TTjAgJqNRItpwyGnOUvcRTpDGuoaE0VX2uJidJG5wWNIHpeaI7TUFwBOiM4ViX1vXDrok2EI7ij0LBhTYld8lpgTnzl/Aw/7IhWceDiYLETHi/E/nUqk4smrz1iJWUyGwiahFAsSuJ82212mZoQHwUP8LTnThQh6wh974eAFI0pw1M76S0TRbfvgaR1ki4yTLy9fzfY25HUCXK6DMLRnurM9MPv7iVNapvU/lOYSE38/5XpJeuOxKXYpswvYE5EUelOeg23DiAuCNaRZNGYV/OJVYTUy30HarOvgAWL2mKM8iSN4DPnsJsgVw9qflIEh9/k1nS1/tGQ5MLz1XSemBddiwiGRIEVmxUlKdTP9YNtx9/kYJa4Z+ME/5wXn5hp+QhMrnwPJkteKak/l1cxtmCo37dro++fAyEjdsa1NbtSipOIvk+aWHDBwnjd3ueU+aJXaDbbGaYVBSFEe5m5ff+4VMc/ddaZsC9Sgz4DVglAbeH8xH5cW6TaoSDDclLmUHMWDsW/r4YGvQf6J6iBggVw48z81symWx045loqimu5oSKnRnGDHqAzas8e5iLlUs2Y7rMp5QK2D05btojGKWTqIiO+AESjP8SNrJJtoR9+xK9+v3JixS7+Dw3iIexx3CJ8CZUQhboLgICoBC2I9bNVN4Uch2zm28WeMrhsRPrjkWlfG+calUzGqt2IHp3U5nMb4ncM5+I5nr4dsn7KHZA3Vy7HrY+fV6doVfYlZZZfSFJQ7qtVx7cW2ahmvEDBtof1uUwUF5lmFceVcbMBGosRiMwW/YtTnQgoPud/E0iTu0+FwCPXzdpYENi8wTttpbIbXx8eVVDY3NbHcpnn7hmq3ZNeORGCBkrmyHq6YN+O9AuJxGseNOivqmXjwkz+oVYUs0QKGNYwF8gFWxJD9NlHCx8JxRnvwbQ81mCyZNBMEWUz7asNX24YJruSO4uHg/07zNxGTNs3Wz9uW+wHEx333/fNm3rXxB1Eyuwqk0w0zoH2SBgCzF4/P2rT1QZkllA4ogFSQJysT8jxhTlyTt/Rbi+1Usnx61XjEC75MQGxXtZop7L2zrd7+LOP5FjhUTAjhj3IOrKD7Ga5Oa25220i5g0+8gt0YLdIGx2x7UGHCri0dclxZ9AOkdR6rtNr3befZKTb1Irzcj2pac71O9vbJyPzadrcobVAusN2raOd4wDSnlvYIHx0/OmpxBq4zxuwbmEvBGRc9FpDWSueYa7F9v2uChRReJeYRaJsWvRjji6E72DhNIOXzenORs+TYzIDLvE10I7VwyIRRphk1MDs9K1BtQuDKUqGjD9DZrPxMyEyMPhzaY0tAwrK13xAIG7ICy+kTEk7AwLC7sY7R/Dj+6vDh17nZPZdfPov4fxc1mIa1nFWB3bRffXOYlRPhLvCWzyxqPvih4Ug9O0LGjM7AGCrxRTfabJid1f6yn2egYFl2nJlQCJXIc9N0Q9Nt3eLTS7h9n3dcB90O0GEjyiCujYy+a56dZ/JzTQNBqj7x0V2K34n9DBaXEht5ZmLZUSdu31vUupuRrH7jZE6pvoSHgV32DXW1ThpfQrZIF//cOMDc1ydrOBNBrdY/ePEhUG2Qc74bhZfvDbJyV8eZpSfXVKlcaa/IyPCwQ5qvzdfklGiVnaclWN0f6KQUirZL004T1fbWIDCRnoplt8Dy5GABVmrc6Ljba9/xPFWGd7IVuJgDu3FNpov/qXgn1pg/VXIIGk/5tzdqPYQ2YRqhMgUwF3WWaUUUiEfW1VDW3bbJRR31Eozk7HFJ+rZY/fQc74Xb3KTVAxyiIna1i5RMAmsG6rGbSRqAFo0C8dBIr2YD39F51PubIwjBWWvOaxWwsIp9xCF1dNgwwJgzo0I3r8o9oxASV9pxNkW/7E/BIJTdW+wHJP4iMVO05VbHCykstntPgb0eVcSLz6ouipJD7bepzXzw2S6iz7FrDK0krl0qmdvPf8fLNoVg9EUd6RIovW9sOhrU9OpBLo9yiq77+2rnPL86SwGPAYstOPXSjcC9A2qy7zqnADl6tqLqaWLofZvrheefF3WbE9eBX6tQ8CQX02m4I0wBrPxXZbBYZC2unll+RUBm7U2KmQrw2cY64biDNqyQ/Y8gbDPpy3I7jhr8YMR51NUmuOKBhGPibsLaL9DyjcoyoG7TG16vclKBG1iwyuqfHQxP8J63ZA3bZNZDqKuxtoPhv4x3ORDOJO/Q55MRJZzAdsqdLEoQ/xtcqFYiMePOzfliUhsSnEJrZxCqStaV40vrA8/Jnv6S1/Y9R4pTdmhDqTVZNn3APoT9Yb/oU8gpCFzo6vQ5h197FPpblsFaOjFuFXYSUhfqYi5jFYNkHI9mDwHihkA19vZhERyqbwfVl4P29FHixUp9djmQ7pG3jdEjFX7eTfRGrF06R70NYn0/7R8JrsQhPb6vHtlJywrutMOiNoGCgB0gdRh1u3lWhvOq1OjnRThv3dkVcBC74bGF2yxJKaQZY38Sxehc2Mn2c5a/loByOb992iU1UwDFBt8j5Jl/ZSZfuW2HBgD8O93vUkMXXRoYrIC6R3RdlUKisEd0f438GVoxle2OhFATaEK9aVgkVLdy+tTOCrymiRYDK1ZXrK+a64ZOQE+XJJy2gbjKjibshwxBXxVnJxhQf9+GBeYlzLZc0IGbJznqt7hkLbM7W6pBZlXRH+4YpMRASotOsZSC6pGNAjR7oO7KQTMt/1BY/tt+fvclyvqa7wPa6oBEKJxzzHz8y2XDbeRxa3qDytq8Os7z4DtRos7oJ8efPcyJYXUqrVoznlYuwKn2XtZlvE95cXLpQvtXjpT990osiX06KGi3vhXyJR+x2PWQkHd5fJGOQZRfURzfYNlXIpPxk3Po5I50CyihieVNAh9BoAkH1hYnLoPeiJItkUhcHmc0b2sAPEuG67bdKjGOq2uvW2q0DBU8aKXYNTUdYWzc4ccRikdVpn2Q/Z/MULDNzSqV5e2PLJ4vmUl7mt0TFRAGCRPH2OCloDgqHlzr6xd0dEycHQwQHPZJmh8BznM4FiSZ0jz0YsV1r46yHNzsyGY3UEB2q2B+EYJba1KI6LaOKiococxzawdribaYE67TzoPRsN5vlUu8ZuspLrEys5ygIMT3fTkXJbD5M+xJoLUCR6fy7T9ZNIrnpyeROFcCtpzN9cUw2HYV6rjkhsIefUx+oZVXsiZgXho4gn5ZFcNDMtmhOWTY07KYeKOHk4qw6pqqOhT/FUz5vvPWHAkdo7C/IFzvNviUW5egoJUa4zxI30yZh9X+m2/kz4ad2rnd/BMhmgsjop8kj5p/4quf1kdOsNrgDPVY/jw89Kxbi+JlCAziRnwAh1nqc4CafTDW2N8tfdmnJErVtRYdUczMhHPe0jHZb2TMZ4IEieLKqAa8zuddHrRPSDBtQtFBgrHgWYdgpgrweMUL966/nM2GeC+3cemwF0+Io8V10ommjprxhfkhOelCBtgnIYBRmqnI36luzDpFc78E8oTwRpk8OhzoB15TK7RIT6R9Pchvw9Q0ne+s/gI8xz0r7rQRTO8vKoj5qhrdJ2PmBCGXyq3CLcPyMnyeX5Fy9UO5AI/po5QxrX1np/Lt60ehR1EfGo7LrxcdIGip+iHu788ptLUltB3419Swk1YVojOgBL3ir26DngotO4WAwtZyI/OOmRVhUMveOnPzx/v/F8h/qW3tRcQYR/5yYLzYxn7saOcd6iP4jY26jcTSJbXiMvmNU7uFeFV+chZfGBfc4juFbXJFdRCQfJjxHZ9OLMoCuHfUTFmdOkToxR4pJZw4b42pIRvlfEQ6lpC6DspQquRWpnNYNMinZ2KwF/qnnifgoR8fXe6Y4FRG0kUwAzO2LbD6a69Q97tIdb6l9BWdTy3ni9Of43BBdpQj4mDDer6qXCp3U6I6BGajzBzWyvI9vmUP6kUc68qzVB60CrP1H7KMAQXYtlqPn6JgU/JbHYbWF7Iz0Vv1vDAlk6ulPy15bu4Mt0z8smHgu/sMzRjiPyzuc53Bly3b0DogfMMagBu4U1vjlwwB280+tSD4uKUGXx7kzGngH54rSkwJ9YD67OgrTRNi3aIXgPsoggTzpB92/KhhpFIQ9tlGV+rth1nDXEOw3eIKdWO7h0xnrn0N48n6kTsdh5aTqW46Co5K+CQJPxJynZmaqPdwoUWP5GGiUuT71yWFA79BTVhz/VufUZmvisavjR7nwFXU4mOy7AXZxXOKloSVJ1EEKD4+ZQeS+QIp0ZgIdbHr+jRkG12ryEvIAdcvPXEhcRod2I6ukXA4Uy6ZQVvSlmcB27TMkrA2dPsdU8vAtP9QKHw8445ACMkZRxKSSluWIGi4pmFrN0UbpHWrtXLKR//h3g9HHqhqtL+N84/dF3FjHeA6bHpzAxRZLVAZ6NiF79UQ16W/6lhWslVuQJUmRKX0utLCDc9Aeq9xq+8ze0aQJ2D60pAzjTjdmaO7ZOW3xRcx0qRpmXPAcZJ3scCDgQDPkqPso0XA7OiV6d8oXZqISBmDCBnv7ruXgVqDYB+bsF558q8jqNYmiMTz5SYZdahD0pIZx6x58FhfKctWQJ0nuNfsfeYw7MXkbAscZya7uH1N75srKhcybu52Y2lXfkPLC/WRNGrdfHmiT0z41nFAC8u3i7fZt4zhzdF0e2MJwpXeJvXmR9Qfa07hMIYjQ6gla6tEusXHqsDFIAp9GVuJNhL6yvxw3yeZxdt6mkpvVm5jvLmpDpOSL3FfwoqYG6mW97Cic4qKtL4W9WL5WoDiIpkZXBE3NXA82Tg61v8PDRY0gr1QuCZTtXwSquhVsHiJ8OMEuTA3o9dG+jAyec9P9lbEc02X1B6GjRcqvckLvG2KFI0H/e71WQIADY5IT1nc9e324xAZKX1VSNUQ0p25dkHlTxcsAkyloAI5wdhi2xclPMEsrTED10AnWXUniaDNiJWjw+gQ11Fka9yIY1x78S6FLMxOuICRpx3fDzpkDZgBedBynVaEB65S/VuGNq0Mse67RuaRK4Z3thTnZGceWx3AdIulSG4UgnPxS9GDOx1oh6nFRExMD6EErIM8wDomccjNuFXdsQa2rAsJOMDhPAmpDg3Kzhl+QVbQlBRryCYJk1PPu0jYEA5xuTjuAX1JfxBu2a8uHiSPlIf9Y0BdkmGeT1V3LE6l6Zo3cZEC+ZrKPRZO++TvkUE0kBmMUWrU4rBvf8ejtrUtZ7wQqau7JeNlQXKRAlrunUwQNz2yPsuzBOm7QIJ8IQ8as0m920MhH26Elk6jwCF7PUR4mmaEhzFlaI+QiGjKK0MpB4Lgpo18pCBCa0Ej5V9udes0c8ccU6VAFyewaEmom+ban7RZQQeNIatqK/BL2/g4MO9sn1GpLLrGb9+DITOMlGHR/JyJpKXTrrfA//38EGuVmD6UwxiQE67VQ5dWCQ19LD1PQq1FPGBUABC/wTNS+w82H9PWMflxIROxPle7rB6hdQh6PRuLzeefxL7CsZYK6q1UiIyY5l/LhEJBJtHNHSI6kuxSAP55yWt4N/H6HUVHxymalp82JAMsqPl0/oPvYkdk2MQHJNkLaSwj/3xmw0I/NCxUsFq0l6vAl71LKUxaeHIaaiMjAtf4E7cNq1ml0FVj0pfWUMlQJqrT7jmKFFAtjf966Ex9g/SjvZKNs3G8QshKOEGlAc1bRsi78lXWKSBNmJ9PykWOQTajdkwqImZaTs3wQIKMAYjM3F6s66oX4hyz3JwQGzKDiKE1g025sZvSoAVmFe16lYdp88mAac9mv22XP96AAIG5E5x4rUFD36GMWyLzN0SexNwV3/GN43X6PiLLcDtQP5Yrhn28OvV1TtN6ms5zGrIGNHPCxQUmR2scOe2yqRu7bTgwWYlRl39wwsEY6ju8xs+HAdbpFb2aVLDlXg2YEeE7Js/gPnY4laMr1seubjE0yn0t0hbc5yfTV/+a2Nkb1kaX/KW2+8IwRDgd1IapL6ZQBc58SMiv8a6uynUrbTYfv8i0ve8e7jIeuCdOD4cFfrWRy5Eypo76pm53SuEf5joo+wGQjawX1QMCA7D8SFC0E3hxdtr/O+P4522GgjjGJ6GKwpyM+vHZivdFvLp1PUNU+xv36DFxgtMazl9f8+GM+JsNGEIijGtI7/OhBgFx/3dPDXGwd+uCLOPk1F4uRbO2Q7pOV6UqaAJD9qztN9kn/ecLVo3ng0iHxYH09XUldYVfwTFE/NB3D0gvQtsmHlwM5o39mSRLr8wIufXgnvFlpB7k2S/08PJTZAWmlhdLfgdSi3v5s++yeB4RHgAumV3WWuOnKpEQEHs1olkyB/HWUetPZQajTLz2kfEfAdt3hvdwPSp549LSMugx3q1koNe82g3VGGDvd45+X2vjWOLGEe8+Sgi6fomswqHg74uPmwaHlBYn6S5fM/uT2YJeEi0gHi3Yqm+aPQTSQWpiXOO59Jdqoy2yQN4/pU43hG5nRtnYvgEzXi+bPEiAM1kv/5ww6DTjdRSWpL+i37AM+efyM5SHIMyDJmYirVIL4zjh4JqtqDx67n1nsHNl9suT39GY9+iCA4YXU27d13/Z8IsBOXCVb2iNP5bOxnxNjkAD8xTCXsBtlh0KGQzWlLlzzhga7AaqIs/Mf+UzD4F+rZ3abaDkUEflLogc6ENCLt+j9hPlfT6CfPQoZpWqF8kEzwbs6v00XUVqGl7xAmAyHnzk7Z1Zey4RWoD9ZGgcUYKANn+gRGAhLqE3Pe4u6xGBtrCD6HyN4tm705PUkpjOZwwlYgNaGitLgoQZJVXDsS4do/OuiS7BefdYmykXj8ol7n0wnU1Xs4dDfb88RsQuAe/13ufwYs1pc6qxJBSsoB49PDm+QXXdjbb6TzgeWA7lzI+q6DVe2sktAg4yqsExDOeY8h49P/m0qpHT37a0sD16v9q2C8KRis3Yocy5FraGgvJ8OtbRazHIx2IfG9tZbKvlGcHo/I8bM7joSeg0aZd81ftYL4DCdfkTOJ8nGForFjx81j1WO0Ck4DktmhlwWDmCwE6vP9ngVKaIHQwUyEVR2uY1RjVKH8pC/bPbZAvwF1tjE8idvhMw+EbTXm8KcCXBS8HgQ5pJgRlDa8qKhIlVP9Nrd5/HMLQCwRG0HGYl27KhUjiRzm7LmR6VVrwO7AyGwNzjyUv4WSPyZHJOU5+KiXTreRxsxDlNiyO7yyLkPOpf/6i7mc6qtxZ0UvJYWbW6hSDpSV8Zw3gEjTlxBGK1YIRKoKtTuGsDWdUzgPchT3eNlCuiuBVi976G4uiYwn2G5/HX8iRn5WTovojHmvbjMER0UH58EvwnWRsV41azsFVWjeZR/q2Tdd08XVIxCGBsEr7J1mDOHCaLJ0imPYu/Hs7gVyr6e7Xg5sFROLNRQcNgtPWtZndihmegRtvxbb7As3NP8p2wLqKnoFQHf1aoEwYKpwLkrgAxDliuEQXFh4SBShbrNVj9OJP6ZzgdhNwznWEQDR5Zkjzde35FBQ7GFfPz1kpHIB7s3KV+DcU+w3O3vRPCakLqGG5Roy8TVniTdYjpj+wZ/cdf/bQdCjOgMpgccxfd7HzAs/6t0Kku+wTVkh189E4wy1KFfhMScNlKJncX+KD+KO16U0LRJPv+cATAn6zvX/nbkhuqeJbuuek/HuZr7olrk1mYVSTFX/8g6oyEXnk5wufZlJ0vsQdvBu3ZwRNIvWZsjMrI+wu9N4Kc6Lvyc2ewXNiOdSDGlCXkpDt9NPnQqmU/YMYZae1DUiCusZtbj/KwWXtVHfBugr46AT/5PQpU5hzKVUiFzxGbzQMoyv1MDjqUjDKcJ/XO544NDT2Zn3dRn9xCMdEj/8I791it/nZS+l+QN7LZTNfI2GyuV0Wy4w/yDSAAVoN9v/FpFFc1zCd1DIyc0OROJ0pezXEgs+kR9ETbSpxQEySiwFRgHbFs8M+9dbtTGPNNq8AakQuA5KcQxWaOm8cx88NFloWIwoLzqFzJyOW23BEMjiQtjBD/nM0OpP1DBesI9zLdAQIkOYsIphnaVQ4trGDwBOrJBDgWhweXPTkIVBzy62iDkuMX3yvwkllX1dSTNUCzEp+VK1hwEQl/cr7qN0R0axkdggNTYqqGBhA7nfPPP7qlE+T6tm5sPewzYUQ9V5tv7XAES6QOM28EInBflqkp6zng8juk+gS/58kVew8y8BBX85JzaXJnr+mIqljY+BkYMH1AOMWYSe77vglmrUwSkilsXqn4BM5UAdkZkU2F+UU4ZBLk8mxPQv+X4hxZcJTvn995+LYmoavfu/B7Qc1IeO2dLeGXqaF8dRpl4WqCm7c0gKtJ8Jg4drskFsrokEbURsbXB4cv7Ey23Q5BWKdWfLGYSCeqCt2bHBLJF/IpemVOlujVEgPFjaFmRVnVknBoQdi/05NVJ+ZZuP8qItXasLhWuk8Te7wvul/g36LWoDI0FuogEEuormPb1/Ky/iQSRv04s5ArAC6rVXdSWwsn4BAso1RAvj6eGYZDOCnmsM+jCoLgnYPwWzmRIvyTvCYwVJf9gxKMgtL//BBHrpb0XP/7HCIYbHExr7LkbBS8bzd1uUVTbXENCPDugmeUKEcaRR7LHSfsCBnDJRt0uEnlc+K6j4nPvEcZC3LkzfHZkOoIr1o4IA5R5TVzCXwY9yDftG6IYDvleh3FMo4p3CuDkdOOe5vQRaKcx3C+cgiv9rgjUviW884h6WTBZI1rM5FtOlnVxFq011RQFV+yFyMyqAPyqHH7igS/Ys6MLV0vjgsT76IA0r4VqN2wgDRJnX1MVo/M7AS4LDqRjSuYzSzTb0oimMJRTis7YF2LIWTca9il+c/3cSY3h0Z02iF4USkzQt4gHI1CnJ3SjiHdejheHBv0+zleOlgF4gaJAfo5u7Od5Zj4wmRRKl6z/uNpe0s0sdWFn3fnhfdH+5xSPK9lJiJFlJVd15zU6EPjV9P+10a8YHBtAbx1BGm6mIrYZWlUPYCawYbVvfsvUFv0MygkX/Mpb2/ZRqqCqoyaAAU8S5uqPsqViA3c7j8bGML6I2w7PbMsPDmww3qL3KJtWHTQfmgundH4QQdg44TcUN8JiTn48LXKARLgN6RPBoKr8OqqG8qYVZQXLNkrC5tRlPFPeIaVmXNu+EJeMW9fojYHSMCNC8fFdPCjaQinTkCAHDxbkJhoQ7xaAdEonsQ8HflPUK7s2bs/pBNdhwHZvKfIvCEsqx0PM7U/0y97rSvRGnrrvsU/AMGOXdKlvsE0Wnw8pgEjRvjze26KfTVTUtrbMfPYEL7ToJmD/zKaGpjTg2xuVNpgGDJl8e4eE7qh4l0+14wKgWrLhSwySZqtNHMPlX9XA0p6CMumk8XCYbheWFyVR89veOUTIcSNPjNAE5DUX6EWcodYzUd4ukxnZ/vsWeCBUYRYbf+zxr2Tbj+tG6FkpweJQRF1PLcYOuFMNIWRrxgdLqD85/CR4b76I2ycd0Wujx56hcDpauQOKNmhxuIOFcK3/m3f9FmL+qyQ3GWwtAE3NETYs84LOQkc+xG9/4JJscBEIwVyBdtYojUuytW+0HRzMEr91QIkODEuav8kNbzCySfd1hmby4K/dm8iEGXSiUM+k/egaQhKiK7ivRhyZYbrIR5AXfzPU8YOU2//DGB7t1dYoauBLoyy3ANbXnPEW/PCXsQqNl5TDCy7EWmf0qyVxit1TDGruATYWE4jreVxjzB+Evp5JVuWdCLsbkmPZXeVtHOsOaY9C8dlYuQXCH20gR6i89xqBwpvKBLC43H2UMTrFIqzVCnsWbhW6YjqGQfurSfKsoyHsiazvOAAKIau7ZLAHsgu09c05oyXW5382OqKxViX3pEQl2Ldw+HZoO//EB24fTeucOt7I+ZxoXU227FpqpF62j2LYQdS21qdveePibuA27Uzn0tnVannQkCKaaTxOYjjvGTboKZGm+41EpA6C6QRvPDl887v1DDNFVKoMkL5FvI9243tst3VFvMZDTgKyHfGwIeSTZSaBTkrf2WbXO0PozC9WCbLcsiNUG4EL05cpCCUm5G+JxxSryjDIlgCo4GzCXJd0Igv7Qp7NN+LDV+kKfCE6Au0iwrY8YwzPHGJ9uQRr/iRj6l8pkywPxh/2XnbCVDiAgmVHlxG/HfmhKCTKI/iuG9rVQOnQnPHrRFMga6gEWHZR8UYDELUluMosyTIHVpwpEQI+d/INs5ux9cIvk3DuPeYk6d6z2H40zU80EzaYismCXv7/5aF5xe+gIOh5UkKieLKWLfy1M/jx/7EgaXwvVVdQA4QzRFyX7IyW2qQXzneaunsx/ZXPiuS1Hf6lLt8n4b6ul42p+RcsoC/G3zkUaznV0VdVZjP9PyDVI6edotYW41XFy/+lKfrI4G5I4r7jusc6MEnn33GG+2sI3utSJs+IOArlVQqJaQf7ywWPou1BKBiIhGUBll0PmXfT3GrqgutXhYu7NMA/x6pTf+0iBoArPR7w8WeuRTGCvp/xOHV2tWBQ7A5JpckacoBE5WXUDyLeC0kVmZPRmYhH7LRArFfV1arM2ZsuGxnZ15OOPvdmiCwMWl+aeyogdkM2NmLgR6YTKFF/DDJMRkLZKIz8R5d1dUAsSggUOp3vE59P4eGqz88Jw9UXAjS6XDZjZljPCvbYlwt9W9OLiIoaJ+m4U11rxuTQouias+pos9LJlC1M+UEin9LRd5DRtkG3Dnz/kgzKX5U6kEWp5dkFsMTcXV9rD/HIue6jcmcrRsPqQ3lQXFh4cHS/U0sOgY5dpnkncgV/yxYu1HzrXuX7WyFxPvy6fWY+JiZYdIhD6KjIGfTnLu1II81h9sE8U8/q0jogy2tOVokEa55nammldo74G3GXi00a88D7JizGCk8Glzc5jyTZt5MOWvHAa8z4+4iFJ4u82BqNE2n0GC6gSKayRBNestE3eEJmic9FFC47TK2xaalyZBfg0dFf9OUJNk0WwrYyC689fdS0bvf1kJbJEZUB6wk1jMcWFLUUsXKi6bae3O5kMKNqZepvXosG+jzKSR2D+NrwBsOKGxiLdOKrD9Ok69lfYfBK8AbAIhIm5l8OHzcvrrq/TWUzuN39lEd3ttzdTiq+TlNlqH6zunyizHO78QvBofldkHAeiEA7YTPZQsWZVOBaII88ZWI5m7Qw837a09lWLWpd8gd91c2Vy78WmLGFdP9U/TEkLBnic1nwFwG0INY3NB8WZ7bpbIYSl0YM3Uo042ote1cLd95EmrAU96Q+ZgzOsl/1qf+JByLDfZEhJtYq7G5D35D0oB1Xblq9KRO1VaGg+IlY6hiwVYdPSM+lkTRQ4cHhtOOMceBnv+44m0gjYzZ28BHOYjY93OtFWQE+K1wqLqLXNuvg5Axa8tkdF/e1gXsuTcpfmfsGCQYxuC/svF+gqk0tKetu/Vr+rWQV4MhP3YMpmxZqr6m7EnJxj8q6gCkvBiKsJedYYvdvtVNLMm3AINrYu2S6w5EXSTP+uVMoIU2BEpD3v7nx8uPFKW/Y8hNpOI9mTZQH0SpyD0Y0Xk8JgexgMFYleK0Pz6bd7QYW016HZFa9Ky70hj2pz5bQAJfGCDgZxexOiAStT4kSwqt4Z/E4Rq094ke714j1d9fbDXD1LcA8Z7yI2wD5hCqn1Gqto55gyRlyZgsZpP0ly5MjgVdGLQc++e9tfPYJjEVEG0NYx1DlIMniDw0327q/tcPRheqNp72rBllefzqDvS7b/LEDECkCRyBWx8GHwvpQ43bq+plGuHqIKhybNuX7313nQZsSRr0mHiiAWlLLoWYRhZqg+adxGNPX478UHD8nF3bzjkozbN7a5vN1bJBfJPvwojqR0aVPL6CYkuuJEIcurMYlJKI/EzIz3dygtLL1CgGn+tjtDd3q2YiDcysa6aXy8gojB2dIsTIkPbSfISHUeq8CiTWiWxv2pKSZgmPD9dnxP563/BL7YKYb/YMniehenzQXHkeobj2EZx/CXeW+/dBlETvvI373v9XHvu/7JVBvYJqN/EmeI4tVBKOxMVVkNv63NwiQMAFyI4pyS+xlDITjaFUkEnIgo3Z1DD69AkNiGSuCinY116NdPAh0SuWKfLFE+VoaVueFt7aXqpwyZk4Jk4zBwz2DZ2bQ6xwTsj9So4BMYxjAF7MAfsO5cvZATbXNqyb2GmsmPbCbFCjYUnF35/YxSHCwIjF43JyMt6YK3wfMwiRSQSUBxeQxHLjizDcCYmvNDOXrrZPrnITCMOW+ftECxrKvHiPj7AuB03LVvRqdAUzli5nLTx2xmyeZUIPokWKy/RHj0U4eJfidXj7xuTczDm0Yhk9hlprwmNX6Yqui76FNhHhW9E6VWo6pFoUBPcI4ifbjssup2YVLbiKOs2jbgtVdhNT5gZx5jHPiwOL9OzGeKowkfcM63oKbGT4ZD6DeiA84WDvB3XxTe16QYYterhNC6uZFP5e5fAWfwk36dwgU+QZgXtYrExPHszA+Z7pfzhzc08dXyz8zK4Q1iJbJnMAYbTb/T6NWTCp3QifRymvRb7/2GJPvXbF+SBO18fXtYyRbFTg8BQ9D4Y4cIvyuo/QUsyJnIbyi6XVcBKpdGSELzHPQP2rDAWaJTslzuC9iGfaYGfvEKpxaC/1+pE+MzHiYRrY1YxkUhqnFgWzdVC61brWDz1dsgUqjzizV9vrkHFfvAroNXDvQHX5rv8u/lcfcfkGdTARjY05fxHRW+SrhEOb+v+97HYFcINFjAMSbtutyAJqV3CIN7YntIj+pIstZdB2GxcAjiL9D+op86TvPXlHLPvnSw5xC1gnbuoKRqoprpV124QkaGldOZhN1Dmeu9F894zhTljUXclMr7WgZL4BaJGboCE6p8dfPZ996TKBymzPjkyA9GkIg/hcZ1akYo3QzEuVjVNpLkYVxXHoqOR6gDAmJkgAz4eKML24Q9zQ/CiMle1EdbX17A/HTI0LTmlq/bfobNdBuJ3gufTvw3CEVKVo8W9TszRLBJCAS+cv33PMEiNBV7fPAKWl7rHvgH5BpzOYfkKXAswnNXsfyHsp7j9N3/hUNY/oeYUtpf3qtYz4pD5jSgjqlCDbrgFNcD0OjGZvDzB0NpiBadqpVIDvq2v9ELgA2mkuiyZTlJz0+Sufy7kf811LhjEnuj/BCynuD+SY2Voi5wf2BVi7nm1RP45E9a8Vmfhp9LpWtx6JHBTEWLhjwFxow5vRUosPAaghrsxy/XLhOv670mvKr744T/R3XXPWuKnd3sZkIWWq1qM7qJdXL8mN/r+SNfukfk3pY+iOEfPb4ndgy0B83ZUOQoCjIaqAWtUadmAjkfVYzCS+IIYOEERb7HUr5KAsOXdbbJRCWwdCHva2e1pbuA9Nwrq4CtnqMi72iA6snfhmODIio/T0T1CJDMf21uVMmqoMAfo1Pgbmffu6h6qtmMqsCZc0LOForbfeVo9sEHg9IZuwg+VcuwMBR3tXkys05iodJrULxZCxdPV7MF6whptwVeNwEa5RGFyik+2+c5mFFaMOGE2TtkniSf9Bnae3kcmWhbZ5xmAJpxKz00Zj75UCTxGAs4FA69NIrHstyJvn/fhOFANgl/jJUJwMMzRm9uvce3IFN4Y8uVKEf/QN89IwpS3TfW0WJCil2uNiIpI3zKCrWnMzFeCMKm4UOWOxB+y6WY+kTFt58jDT4leYfqyN/4/RisM1GjTRG5xDs5/vi0VB3Z11TW8tYt+e+62E0C7JXc8Sn2dKzWOLn5UIYxsCZojIIYOZBMdDytMIQNpieWPp1FpXgEE+I+HS0lLeG75hljcsVwhEBIn1D4Z11gwo9JFrJePR/+LbtlZnsHx+7UlNdLmmEVfzkeym/qykrZ1gdnaZTesR0ip56g0fGJInGCJSWokcoV4Gr38yvk/soI7JN4sf+2+mr2tRUg9RX21WVUGLkDVOrKPIo2SnzDMCMRXZmwUBcEG7mmNTpO1JohCEgmevcXI3DNcUP2YA+6xZTY5iLVRtYovjbrij4MHcj1LeucOS+Be9KnSARztjLq+CFfVD7qbF8IczIwnCeBLfI++R3K4J5k2UinCGpIg/WaAOoqozKUuOBEKsuRifs3x3zX1SkIAuwJNvtm15xKliLkBwallxWCUNOWQixhoPh3GAAxsifpVVxen3XUGSYbhEBAiyRTVgRTfuARpXF+7g2GyDyDjQOEHzBkUb3pDjQnTR65+Xj3LvIl+FEgkqOJc0UtK9jIQwvIK8kfmpC7vyPYsZLIVOP//CzdVvTo5R9kxGy1x/SMplF39sSGiBoCaWHEbmcdpjwQAttUlZr6NHSi08Ho84GC34kGW1UT3WLmZ3+bekAcbBKwOo0Ofxgez8F6VOpHgkw2SXsJZPEZ7PNhR10QRg2SPtH08ANn5Jb076ncm8xhmdIikQpofJMoYtzR+FQ7fThzzeuaO4JOFspN7dXAGxsbNBRjFM4/an5wcvgV5e2cMsETi/4gNS1CxiJftWLTJ6i8Gq4OYtj8Nuvewk9mi6NgKbeOmQKzL0Qd5rUo4tmqbVtp2NA8YCxOZ0iNqopQ2qjNeMQo7Qdx3E8+3zzHcKJtZdonMYgipJRkI7Lv8EBXOkamxpBIurZdrS+wcolLSulEemro/m28Im1f0f6xH6bONoxvqaQWEBmE6pLFYBVfgmz1M3R5HE/6mYKAkz1Nqg+kDc5O8ZTAHSeeWg4guqYb8WFJftQaBs2hRfYv7C013682DmST7t9tdI9Kqs6Jpi8v4i9T8Pu+X0Fiz1GOmm2GoAaDkfivYeCYCY+P+oWmAFQKPlrM/GbKRx6RZefa0FUgom9r1mjd03ZpRvYdrb2Zg8To60v4B0LXa/W1aZoV/f+i11R3U7sHk4E6+8dwQvy/NyyCS8nWUQtynPj21C1lvg7COxuOW/xuy4HOv8+zYDlKEVU9Mc/gHzRNVPUer+jho9Alww1yP9HEIniKmBhm6+y1NE8xwhB0ZbfzwR0bkqCcuD7n+q7TTtQlQKBU7sNgeiSVSNr4AY2VCHqyVGiKgFOEUsXUOovmOY7gj1bKfRbubbmX0qVmszTPe8dP3hvt2hKLvLAnEnCG0kkUiWBc4DgzIGXoB2pGbJe5t1lfdZB/9JLV7G16q0sdfU9UHZyg3i/LOZXctb667g2tf+JJw44jti0/cJ46zn3J9P8VLvvqCLz7sIUTAZ2n4DjbuULRF1ffxJ13gEPeFWOQbx+ANZyZBebVbNwGvwdRY1PeMEtbi1UVRpHkYtLr2PHJUZZ9foDOQ7mO+1LLWTooo73p0IPwg2dbT37Uhle+Yzq9kixKdibrpo1cncVBVePPL8Qtzc+HWY7whoZx+LTM+hQQ63Gv1PWHPDMzvPKgoU04HcvBLU/hn0CUCkQLXhiAet7lEECGA6YbeMWA2dAYnFeiEoOI5zNZ7lZAbSUD4BPcwXF4TljteVj9S1YfJVEBBDtSB6Zunmc/UgI10f4XBK85aMr6/Hu4uA8Fwsruqp6zeNmgzWkVC/gIRtMxS4+EPz1Xmk6i+1aMMRFSzXTKJOQXbyIVYx1Kl0o5kDXEenGH7B+B5WmrLAcb0+RoTQWI9a8i+ENCHj6HuZZaF9iSEEHcsQOWZ4MY42PSVdlNr/0YCQywBM9XZ4iHTvCRUoYoTvxOel7OsdqZr+QKBvPrU+pIerkPPGSrrmKY1OZgZ3vo6y1SH6xOrloKW020whkHBHmtrLKhc+GRRe3dm8JFiWr4TO9zpx2m+g2VYWslOXYx0RuR8HvZDzPj0q5x4H/hnOLajVjnHHHywWxH/pj386NYBVeWv75nUdDjMHymOs5H+P1t8loS7oVfpaSE2L1gBmClpPlVMpvZNHYJqc7Cvdmzl1K6oYYjOOsL4fPu7RkuJAWezcbLUttnLtaQqLqkWm6f3B64k/r2y825wrHIQv1DdsmUMnTtjT1DPt1Psg7Rgz2LvrDjNXHEoNCnJ/t8Ocwp4ECYiaazEmQNgGfAqQIlG6U5HSs/8kmIEzZ1qntFFsa4PgPqp0lj2MvSilC7pWA2M7OxN4HyNt0g+MutsQ9s3jmyJRCcwcUaWeVAr1DDpIjvsZ4Yo9EYEOI/B0z5lZOAhDnwAjXPxWMTTdNi7Tb0mtt1ZCXSXIblHcuaQoPQehPzkaraitGGkNtAV2o/biTs4N8lIZNmvYHMrtw2ERI4jNVm2k2L5qIkSyIr9zPW+NO20O+VJnvzSHUmL7GCWAE5SbCLeoOTTK0bEKumOaph2SczD3HbixpVKnfRQMkzQ1IYGUm2BTqDxNFw/C8sYzJozlQe9BkBlta4aTPPFkBqRVyt4zgnkzwBQXFavdXPlHQ87/AhYskKUYvxgF+MChHJGeArb+c307iASsEKyTP2q86kMOl2O7BFRWJylan11Bl+r4rrxvuBRCHBkgUTBjMSIKEnDZhYnRsUvhO042Xeuvq/FM6WBxLdhPK4SVbW3+i1JW5QKr8dAyU1enx34fBcZ0DWueICtkciiUoCsljoL5RABhPmkec9mY/+dnqVxNrIABbm1IyQg0t1OknB3785qGb9Z4bFpa9wHfFFAleOn+Ah4XoSQwuxbBHfPZcEIkPVQcqYTUu+CKqYHJY+/hoqIXY9XaByBPSgOX2WyuUddsuTMnd1QxpxSKSezRCZYXpH63VypqOHOuFDTpPbV6KYJG/mk448swy+FxfN6STtg/dROtbS4FkhoH/TtWMeJ6yaK0vGoISxGJ/t25kbSL42N64onkGSo8RoIPKfIWNdF88HiCbWen7e/hOjBuGAQiOxETe6Cr/9gBKVGkDMyBZLFWWM+UyaQgp9RtRUbTW+ShzUH707DXl6zI8UjKkl5Uh+RsmYPJ3cux3HfX7A+XqRlSisvLQkoXHjsFlbun/oXwA9opXLjFJrHbozSHhH88W0lQCFIEwqX/nsYhPtMByLiayLqh4rYBVxDYydmPKMECEC+9Ap8MTW5GTbMNb4B2LG6e/TCZy0BB2rChNDBYn0JIlSfI7x1O1tIByyTjfHksLfVXoQGY3yVhiGaXmCNkH+cLHsbNAUeISGb1oUbV/wN7hxrJcqVAla3FKWN920iP2RwUt5v+iT/QCMj0Y8DyUAboFgpfUl+656HKxL88iXp+9sqsm1911S3aZttVORr2yz53eeJZLgxOeF+GYIIGaOaenlQ9XrOhx9IGgjt7HpHomcei3myCCl82jkBdJb8d8S1a66e5ZiJYbLxaa5uBuGvmCUTeTYk4zsOGAP7RiCJ9vATx8QoY7TmskVfAMRmMoERuvXqhXILJKQR2BBTBN+c+ptyBqZ2E83XeEJBK99cBlvLwoMOrL/LNGtiiQz3pYil8/5oVroewOn07l5T4SbCcIqE1HQ9d9bqwOiodaqO8+ISIpupFFW31wxSgL5S86jMoKYdCiPC3KyZX08Uy701sBhtiAiFO3xls2Stmj1hvs6ByGZ1mPCLcuM2U7sydVObEYHzDyK6AC2Sm8GG5l3K/jq3KFhC0y2b5Wdrbma0LkeYqR1UP/6fXX8cU4fnF29rsFBNI5KWpSLHW5pq6AKCaPBS1FrQZ+3YSvrRow7olb7MfJoZ+49+ShN6V1LWJvHvc0aUQxGfRccu01Pk5VYYmhuLYU4tdZHzxzn/a2DxGeF1NkK47SZ4HTzz6vvwhH2F6o4dj3m0YbSBG4dAs007AmGFxS/X+loCB2E3SVHSw+pdInhsQfhmdtxTSS4WcEQG45gZ0nXttpLnOkcvjUn1PVwOiPW+PeZiUeoG8IhiYPNWQH0SllZyravo3Nrhjc3W7t4dDuBCcSLPu5hBA0VWDE5+5zV6/8NCysyTxwVlsWhalxQi/9HErccYlG+lXG2Rp96D9jigmj+TC7HqEHRtUzHvlObUlAiV19Cq6ZfeOBFp91DNOz8HxkFQe+/4/AeDxXL6LelVoSHaZmm4Z8i50LBmH7enCHq9jsAEt9PvYixPzvYuaDPYKUIqe68UCGdZVp+s8cIfkxONsbwJKSriku4WfJ1LmB8gMr7++8Kpf1tFOlLoyEem/lyrm0V8U5T3GyDQDQIHqUGBoKEXg2ZLEgYfpymdFmhzOfd9MDA0BJZtaF3dT1ss3JCsgfA2dSgvMospwZIUkh48tuLL4KlBgHknqJtG1yRIB94qSftYgiESYlK2bmq7MTuDAOUN0xwMqZ9IaMZvW9VbGEnApjc1U5bfPO1GsELlWukAqaLlvB/NWH08/OewyfJF00aN2fs33Bq2aZOrQ3qtKBhfe/Szqc/eCiswQZP0OYlqL8e5bklWBAq3/yrDleec3Ac0ydlei4hFXHwasEyvs2JUMf0UexVJBQzBSXVwkbgKbv8OqVzTlaKG1En2UpFnK0pzl6fd8cBbV+rSjKPj/kgQrVtbrlCLlEZ5x4OJOTDKjP5BtLxhLI4cVCa1Fczry+F5m1LGBOVEnivMZSjsQKv7lUlB+WLsjPUl/PN/pkIAe5KPDTHpkuZC8CzpDua9/rX9bxqLF4P5DcrUGybfcHDYJ9aBZIZdNQvpr0wwv9IrIa9d7n57uNo/aQtOvIAUB1JgTjkzXfIhtLiDGZAqBCoakk+0ySFbKXroKoIIRB63pHgFS1d/Xwj6SfQHYuD+WARNdIVTr+6bky6UL1SYXV4TPemW3M9B1ffcJkD7qVHJ8H++Dz5aQUE5aDpaXJAU4TOPOK5jzv34vFevxNatHSLCZcO3hv6ONCR2J/udlWkY6/RWlMS4gEetLXfc+OFx5r8nOuff7Fx1QaEGaRwWqnNfVW+eVK+MicJAUvXv0CFBblAnZ+cP605SeDmim5APOyABUtkjINWChRjQi5MrA6Ieaflq+Rdv9QlXZEwqx4mDMkWOfR4QC2rIIfWy4P1DH24sIxwSZsJ0oTQ+YRo+k8eedyw+eZPIR5hllwosJCa93LAkF7O4wp4mIuyxiDt7dZd8ZplZBfP8tUbp7wSHDtZSLfUr5T6a1C5XLZq+fXvIXRMJAqRGpW2bo+5Rf21sjetorodFLCF0eBDH8P2E+eKIFU4o7CTXT5iXGYoReY7nxXacB91PTrJxbmNBiN/Ki9mJvWx90E87Yxs3nWlEGd0czM+LbJqd7gLdzBhBUTzemPR9ktULY+n0xNRRamOTzVEgupKUYlmL2M6TpDzScx0L1JdH+ZV+abaPswgrUOfZiI2zk2lNBlFVj+DYnBdfkPefvsXGrhz2wjnFYeOoVG3WZ/53SoYQFOLhI1xrLpkWYFQWh7XBztAz7S/SzpRCc2jZq4Ez7S22SkXZQc3Hx49958foXxNfK53aPvMu9I8WCu/q1iTE1XY6O3P/7tgETqYk2i+uPoin8MFtcEYoW19fr5yv+fxvhBWxZNKxtfiqujYZUxq9AngqUO4gF9sIL7UpNmp3x0hhm2XQtIPjpSoqyffMMKpQY+cLLhGEIRBKPNQKRuilAIY9usjRmYskkfDDhVShaxuxQAUWmETgFxs6gDBItS7P+paoK4EQkqu8KvJ9VoAagAq5Ll/pISiTof0daY0xr2xvWohYOJAKB26nELW7mn/ODOU6XjuO5CyAyyiKmatwyInCr3/0DQW8fX/Rptl52ZU4L02ziCwyDaeOqo8djviHzBT7mfPP/UDEO/BgWsWdXpdb+f6oC+qrOPm+SYmjMZdPhG3qxRUHl8q1kdtIh0jmWHv11R1dpN1NUoAYvQ8GSkTJyAn5AgTgkZZNI2ShLWwR4N+plhaPTNMOVQSR0f05fOjUBMJnJoZID9HWDhiKZCHrG+GGE6Nd0Cv9/dXA6jlYAmiv8lgiXbGIAbY1i3PNvvyVVVskm4Iy2wtE8+RFTz41oxeGByV0J2D7WVfwNM4YQuBgrCvH9pYjMxeigWdFmgMgehNfXtnDIeb/KXAH2ph7kT+wIfErITQjBzjxJbMYKMS6ZJ9KCpZ6QNSMsWtaEujMAyTXYak/Jlnwepmw2KBsMBo0MuGjBpxXgsHRDK6AehqSj+v7xXex9eJUmsVl5PBHgiBq5H01jADIKNOkgS+MBKLgofrkzGczJG98ivyCyN54Lcf19KMkzV/uooNQ15UnmiNgYCbsH1/1CMzZLS/LDWUN8ZfFuWQoOjqpoYhAqLilAIPFToRKBqKrzNqq5Q3Uw5CyReQFuMTzS5qMVNDJEB2vdVBv4NU+VG+BdNGO6fFIn6ftzuCRriaHwM/7mTYiGkDWz1UeoVahkfG9LFV0ecsKvEBUvEIBAfYO24N2LHbnbaLPOnBwAgY3Bo1rVMDvQHWpXUE0xdjOAJUeVZjNHLeKNdePvsWnJDGYFen+gL9deQXOdBGMn3+mofTDX5pSKonj0TEk0ODSx94zqoClP/FIfAvGlxEgSyK0dzZZbOJFYxC2lYHK53B1qp+8CsobZSeXRqLW4KbQp2xVSKjwELDvvykqa3/Jww/Xy9wdWNsZ5jlRwrHGuqZ1jmqHrEDVA692HmhlkPL6k2aRy4lDZoX9IbXt2cBlNa0yYttyHNwGNwtSZujCgkq3HvtjchX6Tu+TrDWFedgeaF9tscMDEwSJL+8UryLLuh+A7kKULPZY4FX3L2ejX19k4mICB+/+DxS9flDPsy3cuH1Uq2b4lIfLl6ptoayU8ls6LwwOmYRJXgdvHtg/c02Y2IYzayDmIqzUolfEVj4koL42uQeL6wTRBR3VPjSkN2rIYz3+D33eH5ehPaNdSNAMjIEEOFzTIvUNkNSWC2PBEIDxDYyp3AhMPew556fR2pf+Tjxhfer0Vs72A0wUxPXV8BDV5z1eSHuyqIUocebgyyxi8mKfyA80RagPIXkBOGjjL3lJ8DGT+flKfrwSrGz65+gaslovhUG5Q+q5y0UGLrNMaKKjjTgvMQJD13FxxDyZ9q9JrvTLzE4nbZY8+NjSZFmBHfJtACykrZwDt6W3AhEPq/4t6Fwb73URXJ/lT6SsFwbLb7BM3uBcAAKaF9qbeQAbolojuQR6QqiuLUnOLsqV/eYcovu5F6M7MxpnXqwCc5JCqmGXvpS9j0QVHOrgW00hsExSncWW7Z0rUY8H2fF+5MpNYWaval9qHV8jgie6loEcZ7gywUTNikboWRZ1niaupZyeBAKXqTOoeY1voH39FmlHPWcM4yXUNRmjmdKwrZzB9QXXD4cqC6PA4BuKBC0XKoRhgtbnjrPKpPIcQ9PlbrRHhmMgo3nw/8cj6ZAmG05ysWnpzixEr8/tXmFZ/xwR+JTB9Wa1E21urcFmvBgI0Z7z3qQeVe3D6ft7UpAtOy+7iPaNltz6JN84UBZ3etiXOFw7qzqTzGF84gh6JlEq8PXUhtOLnPkq6ohVKECKznpG7B2ZCnzOlsfy6O/Gb1LW7pbi+7znbMM758+UntASIbSjQloeXCa1Rxqt0SLm84s5TU6IESvq6jbizc3rcI+P8/koxLE2+tIwRA4m8mCis7jS8IrGWp7uihtgOk8e63INIQ/Fk5IPDbCCRtwuuevNtl2dnDWxrHcDduC9QcwECH+UibTypCYvLW5vuvGkcGqnwijDjtm9Sj6BtokhnB+8s2hircLzYVJIzZt2yten1HJj3+ct/6PzAztAIWXiOq8HGDXRjXPGo+yJiKMLoMe8et5AWRbw9tF/Ttj9OtZv1TKehz+faqL2v8SDXiu3Q35uJ4lNJrni2ObVUffykTAdtIDAJaBl07uLkuHL5QSel4/JfFgrpA1MrzXxi5LLoBH3St6tRvMSJKECnz4jmKU/uuGRruVXDJKSbvaqb6pT781F0v74kYGO+qH525cPVvG9cg8AS0idNEXEyUjvS5N9Np0b9R6AurvTdSN63Z6bKKbhp7lrEfHD8oTJ+oob/j19lWHRsfHun2zfSecim9dOOzQGKv+E0qltIVQTVZGQ7eyl7fKvljxC4whL9CLS9cqXCi3DCfa6WSo1hGVPn4IwO8tFsM2pliyeUYXfgfHaDSFgwGX/nUwwWD2oq/MAUmzJxEMCKAXaMDD995oO7XAQkYNgYC2uBuiInOXsv22/Q9zQ2/cE6w0SeWFlvZQqVzThO9f5L5Ij4FCDc/Bdnn6xj/A9dkrOJw2jlgjXIIDlPeC+N4qXnY6+7/7hSb5vBf7sV5TYvih1iGAIctwSrxaGkhFu/qJukUtplTtUxtODjrTPsrE87ZVR7mF3xMymMNGALHlOQGjiXGlzcpbssRyRZVg0000llzqXIY4sFk/cZWK4/k5e13ANTymNBaioP2IyHXaL537b+FfVrXckV6cuGZI6GZVledqK0noA9AEa8P9mZXiGUKxtTCFjNWqtk1eI7ssxn6OciJtdSNPetkn11QX9kL+NeGzkwAMTVU8Ru2elyEQfAdYtfevvhAchrIIp2z9fQ05xQugyfJA6YkSMWQww8QE2egYyRCHVORafDFSzbAjyxjVdC+BboJPbfZWLNqHTURrUyX46q5zBZHsNcR/A/1bjPTqlNx26hlE/sN50u8maZ+WYAWInRdhr+o1qEPggV86smUQvPgAh3hLXlDRP5NfyWk4Z8++AFhzv2BZp4yBepbxkObAmwRDq5BtAvEB6Z4PNaHNuQv1PUepmwO7Ryj6dY0Bx1o4ob+37v6RN6odd4C0lcdoEb+gfeSO/AVJJp22l29f4HjkehyzI5sL8pcmNN6uUp47RMlnQBxTcWNFrSrReJ32MxO9Y2kq/MxxYKtk2W+ZGvjJ41WNAPcGljh39wDHveCaRv1pPYGFUMcQxfSjXcWizqbCJV+h68RpoZRIDJP5Yi99rnHSD+Rc+DIVvX08DMMfZoTWkDATFPoSxUbmUtbH4pXIBmUsqsuEHA7hHmqty9Imo8Awoces3vzvmkTXtMLyE3Z0napUI2k5fAeUUbYgEt9A35281BCP7nxo7MSvX7QeUXKMosOPJlC1JLS39gIy0wT8qfoNqUCIb2vuDp7ZPQjaQU9HffjB9rjkpdwjryvK2uMMjZvgwipW5W2LVNcgZJ/JC0Q039VUjcz27NyVk4fXmuQhP+DgtMPRPfyWwo6hRDBuItyXG7RmbLgTX7s28OYM7wT2F3D3052Fgqf21ncywOcG2hcjXlCshb1se6xIVxhMVYet7onqsA0K4iTTfR2Bn2QqWIM8q18RHuz5+lOFFCakPBcRT/5GqV2HkNziHGBBvRxwYZQAHI2CY7SYHTm89meTxxrJ9+xMLV9PJorPUoajwTuF/+iYfk1FtVtHR4gIPx9fDsvMtQLikLljgvodVY4kG+sVyHU7S3s7VZDT9C8YuS+aLT+hscFIbfSUrvFn2P+gcXGDXPtvxO8K2CMJsfUlzXTKhmFmNi10SFuU8ZrmqZq07zt4gUAdLXtMPcT1zXnr2rxU+m/u7qep69jWAnm2LnVqdeO3njPTZ8voUN2rR9hbK8hwQVIqaEb3O1Xc1X8GBaUApcHYGx3oKu0fxsnrv2Ec0nJHL2mgSR8h4z02FJeZbK9e1dbd/F1+7VVdBie83jM5r5SzNFuipcGcxUmkVkB5VPOuOXmrzYouQi0ABKyLBwRhyPYy3lCXQpOwFcOpSI/3P2ex7dJU4D27KRWWp4Q6ZhulcqNzpi9tFwvV7H2O6cv1spB7zmdrQIYu4nWVDjEp3sajIg1SsZjGUws5nTVZwDBy1ndq8pZbtcschkfW5oJdp/lF/D4BzYhmYwKJuD4rj7htXaI/ihAKfE3ThBxubVSI9W+5EsqnduQjGKTvlRfav+2TULGPdSsfe/giSsTIBpP2KBBr/MMfoO0DTrHmLPfnFiUgBYnUiphc4x4+JimQtWtqp9AFyGMXONjqhM3seu1JcN1ZTbFi2P3WOZSHb5xUTt3Bsx899KdcESRiNN0yG+75y/u2qAsDrzzR9zBsDGUcNTUCzlkFXMU+SVHBOI2Q6K7oJvaAFi90vezuI5g+fZFh+OhCaPI0ZUFZ0mmckF06Nr1KSZMlENT01IcRg/D3OOUqMqLVPYNSQielQPgATu2OzG9CIjBitCCCtUQiR8ROIDyfTu7LhRt31rc9smvTp1cmfgqZCEbt79zCH4QU21oWag9CAGG/oUKiqgEn4l7BFIqZzCKCiY4jGw4sYITfzaIyazNZE2PKJmW8YCnvCnt43EjWh6IDwW74r8+6bud8iz9chwB/FHGAougd7KuohUSkZIAduQsGq7/hIlaQWEGnHoZQqvD45yNxKoI+v7isHr605OveHsBZPKxSl+XIe12oorpfUx6HqJnJXEGZkr3XsnTVayowIRWaI0WQpUddN03Lzq/++7uA0VVAkwqAJo6tWhj7/+jtwRy6yCUTOY2ZlaoClY54BaHzqxbe6x10ZKR4reA0RlPxir86B0yHYh/RwwYSQpPKIxN4LI7YQhoircthet77Rqb1QN2FfUj5gAxPTMS4S/UmKK6zdcQeOHialvmEu4s0Yq9sfS6I23IKXoLvmt9OoQaA8gscMuzeAbxXRoXEydRu9rDgCiWZycIpYUuV9zYJt+GMZMufRALloC6/18xevNYXRe7Pwr79kIXrjlKKRMQmQU3PvB9vKFO8MBFJlH6gki2I1BiOtlbJkWEUI3u/j2g/msAkqpFA1HTA8IVRpcdDrrdXIFRsSb8Z6hJtiGQm6tg8wz4tJUZd3oKd/Gfi285sHUPTjAA1IgFake8sh5SCGJPosA9THbpRQ+6yuyWJaQQU6vC2GtIzuZymIV3kfqa/S0gUnc5ARG0rQsm6uZZo20DMpAb4e+5JSRl7YyUkqiUKJmvA67hFmlUadNu91UVsU7qguThyZvDqgVC8X6abiJgkO4r5z5AWoBNNcN0y0US4w15AtTaB2sr6CtBqMB9HXqcVUR0L47xt7yHg37BHcxJppqSpTQljh3BZb/paP3VaVmevJzJ1wPQ6Gm/YkRzm5wNduYwi8q3o7/lY3pW8kQ/3jal4JqlxlOp6SrYv/lSLXwYES5ItRWlaamkO1Kv1hxpTc6MVfMoPQ3ld28+oBiRdbfylnjE7LLL53txjBVNSooXS1RsyBlKo4SuWcseS8d8CFhs1Fv/lBdkvlr0x/htvhD2X4IPjS3tyBBTiZS1SkGTTfqlZMT9DMf5G5Lar59qCHGVaID8ArEf4Wp7vn7FDlPvOMzjCLwHwk63alaE5SvpQj4/w0GHicZ16fxy9m818SCJyDd/dl1flFyuwVsM4Yr4FKRLTzkTr7iIhm9i1YqIhM0tv82/NVt/AH2vPI5Oo9j0jFBRd+35Z4T0XeSptqnUEgLoT1fVFwfBdRq6NITFKgeSgnHEe0P5LPmf81ONP0wu4WtONrQPBncbkyTElycuxS6LoI2tCk8dops1siOUBd7MCUK5bWvtDA9oVvsiljcg0ox/XQiUQ4vWQ8gVZR/VdRyygeh35cuDiOi71KuDZ8839m1nY7SI8qwftl4FABrisqa8s5JTDD8/n6IU0Q0Wxyp6/TO7xARk6tqifve+aWi/wWe1oHsdepbejTb2/msJ3nc7Y2FFFH1c+XSAhFHtVwVu5P5sNYvsx9OmrufexVHXFlnXcWFnADHJcKTjUAnYaE354fT66j3CgHqL7GOGfRHJVBCS1baSpxzsINT7OiAFmVe+7/RnURcls1kx2keNMhY4uWN4/HkkgET0bMQ+1mG2To/psfJmRzTjO7gfspS5xgKihDEQQq3R+dBfkE3lVJbBTbck6M+BdW75H11ln32cZ9Fepw0+ZsQLFxV3JBluq5sN0qJ1fYDmvLIY6BU9LwvXxNFmQdZKN0cMOOCHEUL70davD+0Vs+u8GvQOK7ZvqTBIwaCtmxRWSpM2GdQZc/atsqyv5wjM/VU7Vz9tjoo8UhytbOP69gyaNnBbYQgMPQNKDCaC5jXWgbHIu+LWgQkUXgKwezuDJKwABXHLmnkpUMaDgoJIuZAlkhHCIsJIzuB9HP8VObByT+Cd2epOoOyRytmYbxJoWDajY5Oe4U4C/mfnnwvtiTImXSszY8Hq8CVkx0aZg/ACKBR3bg8J1eLMEh/FaLjw7GnTjC8m0Q/a/vUg3VEa14hw/eeYqPNGRYJH3ui52Ra20YqdXNRXr+Bo2TnkeSGeZL/eeGgDMwUTH229K4yhUAkXF1Y0h7aMwVeG8HQoZp1c+MsYWjRte4YZQtY8ttpWvm6AYXPVuFBPRh0GE9NIaEC1bKYDlUug4yrbVhKJagiCNbBbVjTDfdOSGMcC7e16OqSItfBevas+ogipfiMWeUqThm77WKJIpMDcQbZRX+d/pzHYZlFG7wgOgK20+XeHXtzpFM13kZdiNTSYIXMfIIhKVBVdj/+5xPZRGQNy0VTPTJ7r+ziql6mPsJTAIE2+PcwYZCnIzYhAerL97x8Ko41B/judlvAfVSj7xDKTkaTdVwJqDldo72HzOYLg5hHhU8h/ZPMXJlks6vFi1PFgCurAhfNna905Cfivak85NeGCjl48kojJId6smgrr/Z3x4b0IXDmnn+wXe9lDN9fOOQ6/EbGjD9F9Z+orGnUarOL7HELSg8JkHClZLdPe0hFqPVlNxj+5uWVzVf0FPlEuM6KW2sp6/DqDmcLYo3NacnRKWp0CRc4hBP5W5YY4/XQfQJvuI1XNA8mWDciHmdkg34akou6ezi2Jcvzk5am+nFtU5CtT+ydYasd+xOh2AqrSnzK8p0dMp+7wuRaz4Dac7Vu3CyIzcxwc+Qsxu6LWMgmNx/3XmbYiTruTP8Y6Da32BJXjmydq7/GDFqrkg10KydeJQtydh8FFbCJStiS3rw4L2+YelVKHkBiYzVyWp+HFADYyhMQe5Ztz2Wfd5sHYnp6pPXoPM4F9WgQx2K/C3VlvYvyTBz5iPqNLEJtC9RDLzrOhz1vulXxM9kbGIW/YAf1ab1BTPaWsklJd7nz3m3vVVWpkl3Apgf0eCaenLF0Fs6ewvBltEnOnR5KtZX965I0S5TJNtM/qFlmystKN66uVuadiXmifqGmZX4yMf/NkOAUWnOTG0h0pmRJeB8Ubf71he6GWaXG9nrXo5eJpr7g/YsbB4jCrIH0lh8lz0WgtWdFIECM24lzL9lf7cPU1is6kFY/SGAMnpatLXjGVDKCfRVGW74rxT+5l30V2mtZFOu5Nde8fcJuQhzvmCVYbbVLzNovdIaO2r1PFo3mFqufdNL1J4K1wmnHjAURXjhUjgobpWwcZYVz8HXfOFlUTOMUlAiJW75J3ZfwUOGTqzSmXEL9mzXEXhjN5nJQmELl6IiTPbeeXeZ8qkv/885yA0pAjgxpJ4+OUL2z7e7qyQmMdHOWADScfal6TCLDyTjY3O+7IqA+3gK0XDCvNLk8O09wk82gVeg4T/uavpAL/ZPa+UBeO6HrGlI/XI9yvp4ngmKzU6n9HEQ3oYDxzD3s5ycdP72+pf2jlPZnAvl3MKjdYFfowYBaF666lk++4d9r33Ubm4iIq6yssDq0ynTIuTxwyozduthQh7PMVL3ooJ2PERobOMLbOtaulOuHsIaBgihUOmzCm0gLkyBMbvmpiSsqoPGtgkQS5rXppxRejrg3OjYrhFIVfMZHUsqdO3fKoYHwPb577KpgqDozk23VlW7G9k86+1u5N93AgmJmC5kVubQ6Vc/P3Yx386KJvx43I0x80uSH0iyRxT/xMdoRUW0VmTl3mle8ISx3ZyxY+9UPrdX8QBzH7urYIOGn50WUQ0mSIQ6pgd2lgAvzNsB9tH4R9XWBfXiCPS7Hv0Yynvpo0B+oGlSLnwWSfwRFa6SNKBHmbxtNUl2vuBVQXbJAoBWJy1QjYybv2Rnf8fAwhLhx+3yLdgfrO74ERy0rkRCVIb1a16HQGUjRUHNG+Go3/LxfMrZG7pyvgd8d1hv9osOv8/DhVyg38DcVOza4AG+w2eNZocI9sqSz07CWD/+nPYYpC66dAiFF94tKGLaa0OzjMBzftTmw36ROEQgpJ+dfEW0K4ZO4csJ0iQ8rnqyqBB/YHNbbeyjtaJr1JuLLPHreNhQd//D65an2ASKM/QJjKnPHPrVTlgkhOtFPnn7tzTjDRydpjR6wz4WgRvF8m/MfoxuSzBk09r8rNiGKMXjZn0avph2wRN1QMy37wlk9+b2fOm44ko0YOGl6k9fJ+XHI7Ltl3jwVDAYf0oE69m//+eF8KZqFMgM4/mj9Nh7nMzyt0zxGTeOf6NhgLWYel2PR8djZsGRzszzUQ1ykO/smj6BR1EOwLGb9eTOITW3t87Ge25tN8FAQw9DC9LFJliUG8Q2oPERDOSCmXiZ23lTk5YtDiU8DmLX+yzVrRMy/XtVse+AmRLpEr1aGAuPQkaQ9waZJV9Kl0pPKP0Hb5ZFQC3A6cinuI9dsxiSuatrhghbfehYk2/VS8ej1rFH6KZbVRV1kRYqo+V7Hqwj2yT1LiixNqPwG7G9ZGYnWk/+jIdZ52Ele88aQny6lMT5J83SE4qp8FOieI9aFEVR7ByIhkR9kgReGZ8Too4tzvsgMznDW1hHmRWWo0FMlPWowZSnWNj1CF5j+0DjN/lb15XE9qJpEPU55cm2ZCZE40a6ozpduVt1f8oq9QqFwiJAlqOTZK0Skwv8ITIoKO0/o2KC5qF2AQ58zZICezEApjSM120Rf9rVEfTpJrC0V5C+BoRGicpKO/dXVdR91qAOykudZRj65VE+RNQYYixsDBeJobQ/HS/YMDEYdDHHIbqLVQgNu0IJaBnvtm65hefgxXJjLmm667n86yW5Kl83YorpKl9ltVRnM+TkawXqXaLfkTdyEnSm0Ol8O3d0/91EmXI28Yqhfh6xkQCnif0o4kq/6Ngc01LspFrxVTIqMlMqw3ODwlXX50p871v39W/LfUG09DJVBXt+K0+DM7nun2Cq5rXc40gStwnRp+VAxJUC+4hNt/x7LwksuSfq5CWtlaxssCVc9JXovVyHpoJ3L0NCk2ZwwWaGjkWP7SztxQ9zWz9ofd4P5nXhDT6mwfCuI2JXcuv18CF90HI3gNmloCLk3x4bcSGsa2GNn//ENg4y/tRdzEexhjbfevUFnV0lzfMNYzpduO61mNRQu6KWdJKKgjkXI6B43E3RRLifOEm5PQIDglNAezWgLHtQDwJ7qpVxRw73Cu1/LxY+ss6Eb14KVIXJzP/zJDhMWe+amUivQCzeBnhmj17JfZtRqv//mt2FzlnWJAEqYc8nh9sGOL3ImAfI9QiN/426aqYfBNuwRZUPQwdCoD1NwaNT0VPQW0DS4LSK9MuESltlHmbzJh9vMxxVU6SimVvoZQlrIq1aEG73nYqSqU0+IzTB6KnvAW+1TQ2a7ZdG9sGPt/nY4pKf1D28unJ3F3XbZq9cG//K0UvWN1L0PeFy44BZHM+X+Bd2wLmbr+j+2VO+hyM26JRSvlPV1SF+ceHhW4SW78s7CWP9TS++TyR0U4echxPZiaqOP52791PpsGybd7Sh5AcO9AGASJKKfXf9CBX+RZw96LglNpQJJa6+3O0g9ZKucHVzCq3ERW/w0xO1Yl9S4rmdzGvXJNEBGSPxp7xryem0KiyeileOE39WpL2212kcxqyoWDarL76PSkowpq3YUBIVek18rVR4YnOUwgs9tZ5W0jCXKComdEajPTsO5meUSwnNO63gIoxRIZl7aLdTNjqo01u2gOEO1kEEUvo+PWamAoOgk6eQWZy5IfWkCqM382tzlmAHcRJ2Q0zBh7GPQQ6Uh9LLzE1zKXfDaHPpn4Z5Ny3M3MazpTAd6ktVvVWtyxlGdA4vEw5/3lbbgL6GOuw4XEXuyqyUxVU3fjyzXSDZtJlmG4yR6KwBlsVmc2cGJ2REdwgDcBnQz7AC2RyC4vt0Z6hNI4TPfgpUeZ9e2Wq2h8P7O4nm1ffvxiNxEVM5xhB7Cy9CEFLVF00UpUhRXigrnBVh3JNJoT6/Aykt70TYFKQtou1TbTDIlyoh++CK7MKjjdfcw18l+hWEB8UbT3ahtqdCSnh3patzQOzC2z4GVTWTVphpBJd/0zsZSXYt/Oc2kh/2PxoR06ILm78AuI4bWMP/Qm1YCHM0IsgWcNYZPo5VGSGjK/mfvT1OO1mrAetI3eibXFFggFF9UQfWnd3qGwUB7/gMANrNyPV0cN0gTnVG6xHdNxZtIMwH2w7w8gsdGDKA3Qthq8Z0K3tZU3k6B0CHmIltPki6dj/B2YE6Ftvg7oHarwDu6H0yj40r6EtCN5hUAKwdogml5wwUVN/9lWoe4IiAW8e6/NVnjvvQCadE/VRVoX1G5Y3ZtK5o+VFZPpJvRxIfTm9SkVINFq5V4bLAHBOwoH4u8H/6/0uAQVHj9Iaz5W9e2kxl1tNG1/bdf/gm8sXlD1KdRg/Api3AwcQTSWiy6zhXgIBfKuTdXLEUz98Ar5Fx1ERo+iGZ0io16CR1KFz0z0VT1v/ozgj/LrCfoaX64tlFKkt4HGQLNaguJYTXxR9kEFPzNl0RKDDoiDWPp3J8ygEbSXWCAeA6MH2UDa+a2hhraXEVdBFkkvpArETV/bzlgYmKcKpZpd6olTtm6vWYN6WIiB41khUYHrEKfm+/SzSJ4dvNpFtZsNZOAKGKB2C3/M2jUq1oy8CFdsu706cMy6e/g/0EaVpDtHcBbXd1rwVUBJnd3iv+JdZGx4LttW51qSDUG/1SYCoILPEd5y39EYcCBPyXzmv84zawULgyl9zEthr4LbLBfKFho/zw+iyVy1AisyUGFieqeCT+uW7skqK6QR4MeBQziLCR+f30z3EBgyfHpO5fz7nX9SSTsarL/C5YS9GGCcKHfJ3eTA6XnT6xBfyD+CKwWsTDsr8BrFWmqMe6SPThXyf+U4mqpVjNSLzuUFhN8Dk89WqupOLYyW/RwE5eKdei4TQruz5VkjOpQlLZ60DcdFBNhfH0n5uYcOc5G8aVPqNjJVX0cICBYSRLVjCmfRsvJZPHxwmcxLOOB572s/VBpHtj0MMkEYxmRp3DNWbNsLIERCVrIP45M64gLyJg5IKE6dieJBDICgahSk9L5rFpom8mpJkZcv8cvB9lCFBh2ZTB5ItAXd1+GL7tsEq4sqawziGma2BgD1M3J3dmRNGUKuMwhXjimDxmI4zrujeABi45paU0jnbgPVIJ+TD0fnSgNBv7oqkQ/wQzEWQ53XgM+LyQvbdWYJdd/o3KLb9kVYZ2xymDIwYxp7ymeGpaCAocL04PlJ5o+Y8y9mP9BZuBpsy3bdwBN7Ga01AMv4lKMMPBv7NgIsTwqb/hUsEw0LNVGk43yfIheCxdOfZdWpDGUyzx3kk8G8HAy2adXC92r/TWvHv1a4yKuzr32e7aUosqMJpzjf/PgeKHJZqWN4ouQpGJGNvXCJ/5DXVjabZbwFzEr6pORcgXsC5xxD0eFaR9PyfEoYvGKsknwgKi9Ka/pAgFoIEMWpQigvcW4idMeXbyEp6j+h3uxj4iiwGOQSok7jHY5NXQtie3xz7qe1HY7Qn0yy5u7YD6Vo3tXi/H6dSqo1mH9HfIb5rs4IkVU6/RzS/7yM0WCOamc44JxCMxUc0n1brfST1G1xNkfzBtBotDOh+o3cY1Qiqova2kuVVhU87SbIcKifARopnIlJDl7jYWCzlAKD+y3mf1x+HH6oXIzVokfAYfEKbObsV24z8x3V5Q+pDaOCllWWuEUJwaYhzoUyPP6839rMgBXCIe4jRU+jGkL8ymJLIgLWmUygig43C+q4xTUjjTc4fa/+sIn7QgI7XY8RKYhr3Mt+t/0+1xp5nWrEjUSx6JzZ/2GCCxIQazEKwvidgmqVdCmM3dZaM0pb4ZvTgABRDF47Pe7ABZgSiXXJ4jUCJDiLOARKHdfXwmf9/6gHs6B0Js6izCwp6zj+xUhCrN2AS5P9GndAEBwKrMnrhts0xiCzunWthYBuwH/I943lfbEck1lUcp3pyv1sAm+LctkYuh1IIJC7nP6kQhhNfAI7efn/beRaE9P9ReRgOcFI3vipUrhrM7Zk7h274OtYjswmZcMWkaLHTZ+13rvtQLRXi4NtJwIYTo1+Kl5zhNYlDvD+vJmn5vT44ZFc64WQ0F5tMuDtwD5uru38R8tGUMoApiLvrOjkH9rXwLaMAxhoJG88uNFgY0EaJ7Rhlb8+3wkQAFkfzYGtEs5Agr8Wa+DENqhLZT5QdENO/9JOaLv5ToQq4WrfFbfBm8bgQ52Y9zPMUw04WZKcK0mXDt8U5c7QL0lwwq7ENHtdl9X0muAyWAwc3OaeuyVhSgDTNYKpU2QQLhcVZI7KxFLZ9SVa8tXAVRSybI9n8BYvc2wPZRTUUekLkVUuGZeNOPoPfPNuqARXWo4265BmuKLSUBLdyBd+87swhXfPUz2lsIwrujg7oOrAEPQ2Yl3JtbZqb9uRYmr648a/BFEhKg6h4h1zubKcG0Fs2jnaMA017MTgUWpgPFQqHgreMNLoYalSDo0CVP6MRi5rvwqYSkgph6c/YFedNADKYsmHR6FxtblSbJBzTutq9mmL96PqoImkV4dHp/7CpsFaHuR++ocSS3WN25GP1sB5tpKtNJxzP6xc8IaHfeaP658kjDNKcS/677j5LWOvy02c6AlIOwQdAQRB7mw3uSgMHPCia9+puxA1zirsGbRFzT6WvtPqvu3brUP8ZAdoZtYubjiHq8N9aYa3YJlwrQmMUi8v3oo4ecv15oV+W8uow629hnXQ0Zx+wwlK5JEc2jntU4sjN9RxeJVYsfnWypR546m7vcGww1TGUjMhZ6KuLKFJiYyDbA4pI9x/n6EHUaImN8RN59enhzYqStXoU2sB/wClSyLoIUfAy7V9199KbwEh4pHqH7oGQRKpL/XYlw0ZoVlGgzqK5/qOclKzFAb9tLajqkn8KP5XZat7nNJg4ZJObKElBomfQze+3TVBWotfPbKuMuG2S7YLQ6V8yEoeDRlZP8ArwhyIFlhOwryLsIOjSYK1f/qSzIOuohj4rrKOFRIFWglLZ9dx/hKbr3BycXAhedoRIW4qKCfni8FuJpR1U42rqFPD9fb3IRD+eTKPtKK0Cub2IddgUdy+Kxv+9i5lLmP8PtombuLXwuftKvJMJmuaP/xj269CZtGh6aZI+o6SDCdTR25bb5qF0vDmtlIMlnCcP5PEtYYM0ATGR1r0N9gP7Xv/50yTzqZY5VSCvYK/GIAQRLqENh6JMjF1rHrnuuE8QrVK+qdiSGPjfrdAZSzbKN0eifF/lTJWEsXsVrf1XkQh6AInhSp0XDNMSNnFj1ATtlT1LCyLNRLAVQA2OD1zhxRMcba+DtxrxHQpTHJ+ExRDyj3Nq4s3ODO+FyQy1FSUdKwoliId4b8MYNQAGrCc2J26LU4xnxiFhA/CjV2yeqWyAu2xRKQ8/UNHDyumHLm4vHJKGUQO2K6mdtaCS3qQFP4fPrSF1YNcA4L5UphVRn8rBMw99uwZVt6drGCdR+/WkCIV5avfLoUSjGFceOWFO866zKusmFuhV4Cdk2SXNLHQOB1iXKFK5KPx3+bZcqCOSFP0+RsQgSAlLOLXj6WkSsEkM9MSAUXa+RwiAvn4A+RXNwpbunjiNCyzHkNJKphGSCFr5yYqkaki/EEZwKuB2TdllxkPTQl0JAsDUoyCemrNieWPn+89IxJby3Z15sCeiBLB9KzlIFgYpuEdyviu7QVZ8oJgA5vFXXCNOD7Lw49X7IZ+7c4ShRLzzvMOD3dc1A9vavYJJOlBujAQCo+8kFmuGlHS3Oy7+VDP/TjyDsIdSlJx545RWvFK1hf9Y9jWGYdnf0HcQEQHsphUgx2/uUycD0a/dHs9mJqw6akV98PBlpEI/C+tlzen0YvGnIfucbqA1Au1pVt2ADz0gQXRCDnTEBk4zbYzAjUFyhH7cGkZjCcJ1AFLZ8+OhgIYYv99DJD27UDGzg6jURxRvJPIkxCYu+pnG8b8uriDyPXl6JrwIsATMjohuEuA/2DXrLnT4hqpN2nnHr4jDsYJYLOBkbfjypUU+KgmkfQPwnw/i2Yd3HH4qy1dA3w2uYD0TUeuQgCdU7eaTgsvt1PXxl8V6hVeHW4mtwIlVY68qNY0KEVgRpA+gHG4JTnDoHF/ZX1FWO3h7ovT16zGImVYk0WkDMErhK2b8ZePB4TOI5oS4CSdIyYJmuBwMYy7C0e07rptyumBGxYoCTxmNX3y2LRtawR/t9XzzsvMbRKYPUhAuYKaVBUDGC1gXThOku8hn+SOw0rgJdKY9S8hZPiqwlTTmzU4CKigYdBNUY1x5lINGUM5TgAReQ/l4GYWVOIUZfRgVtT47QmVHvMygHdNpLVJb/20vQ2617yn72zpUem0CRAEHr3XY+U1X6yvkeBztkUgUsfoeKKys4cO7GVGHzlI/pK2kfRLSUeDG94cSmJ3JZ1vYJt2AYXHVkXLJd/sHn5dQrA0RV8pqc/1nYLZ7IJVTuDIz7udxwUtsZhthdWO3Vu7IEBsShUQZV2RWEseIFpFB9BT9BnhP5piXxkC+8U6j1BNElELpaG4Eq1O+mkXAyzMkVpiDpQSuRoIv5Gso53MER6K7A30SgS/uVS8K370OE81slnjb3s0wNqebuptCD4bsu1xNba9tgfNUEp+CAZgPOvLY9GiLsRjesNAp+oASimeEJtnjTSb07eOMF7qlSUVx3p9zGCMuaEhRfpV76v29SR+/10x/5CEyX4/7eiRixJaquuMqJinxe/7mjsd9Hf/VpyUXIPGhMT3LBylYtglFiBdHJ06R9MVx2yNlWK7RSOP0Rsa3I6pa4uVl+9LAotVT50EstGtFEajGPP3W8GRrHD/mm+cO3ky20UVQBT6GrlMrCYiMOBvnmcysylzjTiiCkC20WVW61CvH7dtL6tozhwAiW/MmELq542IgSL/Xz0tnMq7rGOjRrmQRi6wq0/nVjmgRQiqvlB8fAsddiZBI+n0ppP6tAusF6fokBXs0i3XYiWgRrvZS4emfZgMXiZG20+M3azu5q4CdZEDjLCtnk3XtlCxTEzT6/f52qzVXBIiZFg9digY1C9qQtGzeUNmM3E99jhcAF7Led3DZJ4Xm1aCNEf1b6Huib8f1/qDpfhe8WpKW2maPWF0sc+pzumXVLwCV8E6g3ogWD3y9U2E/l9CWZy9y5NGrlvxfYWmBJz9ErfX2BWaAy9QA5fIRV6CMPtvDI8numE60lhQ5xF2VjrByvoPNMgdnUkym96p6bKtCbYCiZ9O4fIccoBMoqopEFsN9dxw1Bh3RyX3gSuMdGeukEgE77CXIYuMrmoatEPd/pw1qcZjJM8Ss0wqBghOhzyMGyhwXgiWHlYbeNm3OMgxytykvLZksVaKPpt6p9UKd8rilYA6o69ZZl4WMk6m3bBLWbywpu/+4pu7Hhtb3513nMcwVJNt5npDfLghAw0VsrmMnuRmlheikXxQSdUq47c7xQzHcYbk5vdX420RVzQDo+OchTVg91XopPrQWaevKa/0dyuCFHUuHO7Rxx2JzEs2Zog+Fdk3qeqPt+qj5K88O8ifxodu7IK0D8fzlZrdQO5wYRjcXokZUoKhzMIOQAN0gQW8xxwR1XaGdPoBeHF4jUVpuPyItmNuAanQxhI7W4UErvYtV3dRpbCbu3932gdy95+VE9SnGyZa39XFbkDp7NcBgKQQRPq79UnpUG83+PvM4+zVCMVaMefLApvSd64VOI9r/M2/IZGdxz3qoas0KvVWSVlWtzpehGUKbqHMVXsUj7L3vl+Wr3bZxGNNDh46in5HVN0D/Tew6aJ2A/R9NBGRs6k/aAU2Pqmg6LzQK3Rc88Y+J103Ca2CqBxQdC45wGzPXlcgJJStAxQ9E/iizaSM+hl01HFnJHS87v8TLNBh6LDcTKY+p1gLSegiZj8PQjTS3VmGzIB0xHNpv8RdQJy/TW2UFm4AUTvAzg81fKzmN6YzqEmn8SyY68OZaiO4mRyqR45rLCOPqVIiPah9GLoTFSqlMAKLdSN7Ddu9f/7ZRMUmbnWoaM/V1LZyvEz5J/IF6gY4DFeJHDeSqL4rrYVxF4TaYoMBpstdBhSz0fgnEF3yTpvQl00libXqHJNqQBckgL0LSeIB7zphX2PXBk1gup1W6jUbvDLjnBy/tNdnM4Wl5ojZS1GUsKQkGuvz8YMNzKDbehTnGouq8MOBss9vyPmGsMTno4TpI4jGatGDsdySxyXmu3wGJ/urzi3CgLqzOTFfBoR33GWREHGUrvItLurteWA9EqJfPceqWf/J8TPIChcm+t+IgjZ0ZPwcRbdklZU1T76BTSUavNkjmy5124TlW2LI6cm8I+EHd9WadkmGBbp9Ozz+bsA=="/>
  <p:tag name="MEKKOXMLTAGS" val="1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Clarity">
      <a:dk1>
        <a:srgbClr val="292934"/>
      </a:dk1>
      <a:lt1>
        <a:srgbClr val="FFFFFF"/>
      </a:lt1>
      <a:dk2>
        <a:srgbClr val="D2533C"/>
      </a:dk2>
      <a:lt2>
        <a:srgbClr val="F3F2DC"/>
      </a:lt2>
      <a:accent1>
        <a:srgbClr val="93A299"/>
      </a:accent1>
      <a:accent2>
        <a:srgbClr val="AD8F67"/>
      </a:accent2>
      <a:accent3>
        <a:srgbClr val="726056"/>
      </a:accent3>
      <a:accent4>
        <a:srgbClr val="4C5A6A"/>
      </a:accent4>
      <a:accent5>
        <a:srgbClr val="808DA0"/>
      </a:accent5>
      <a:accent6>
        <a:srgbClr val="79463D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rity</Template>
  <TotalTime>0</TotalTime>
  <Words>798</Words>
  <Application>Microsoft Office PowerPoint</Application>
  <PresentationFormat>On-screen Show (4:3)</PresentationFormat>
  <Paragraphs>173</Paragraphs>
  <Slides>21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entury Gothic</vt:lpstr>
      <vt:lpstr>Gill Sans MT</vt:lpstr>
      <vt:lpstr>Clarity</vt:lpstr>
      <vt:lpstr>Building a Strategy presentation</vt:lpstr>
      <vt:lpstr>3 Steps to Building Your Presentation </vt:lpstr>
      <vt:lpstr>3 Steps to Building Your Presentation </vt:lpstr>
      <vt:lpstr>Before You Open PowerPoint</vt:lpstr>
      <vt:lpstr>7 Questions to Know Your Audience</vt:lpstr>
      <vt:lpstr>Before You Open PowerPoint</vt:lpstr>
      <vt:lpstr>3 Steps to Building Your Presentation </vt:lpstr>
      <vt:lpstr>Keys to Great Slides</vt:lpstr>
      <vt:lpstr>Find the Best Diagram</vt:lpstr>
      <vt:lpstr>Diagram Options--Flow</vt:lpstr>
      <vt:lpstr>Diagram Options--Hierarchies</vt:lpstr>
      <vt:lpstr>Diagram Options--Tables</vt:lpstr>
      <vt:lpstr>Which Chart to Use</vt:lpstr>
      <vt:lpstr>Categorize Along One Dimension Using 100% Stacked Bar</vt:lpstr>
      <vt:lpstr>Track Trends with a Stacked Bar</vt:lpstr>
      <vt:lpstr>Categorize along 2 Dimensions with a Marimekko Chart </vt:lpstr>
      <vt:lpstr>Categorize along 3 Dimensions with a Bubble Chart</vt:lpstr>
      <vt:lpstr>Categorize Growth versus Size with a Bar Mekko Chart</vt:lpstr>
      <vt:lpstr>Show the Impact of Changes with a Cascade Chart </vt:lpstr>
      <vt:lpstr>3 Steps to Creating Your Presentation </vt:lpstr>
      <vt:lpstr>Learn More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4-10-09T13:45:43Z</dcterms:created>
  <dcterms:modified xsi:type="dcterms:W3CDTF">2016-02-18T15:08:34Z</dcterms:modified>
</cp:coreProperties>
</file>